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77" r:id="rId5"/>
    <p:sldMasterId id="2147483681" r:id="rId6"/>
    <p:sldMasterId id="2147483687" r:id="rId7"/>
    <p:sldMasterId id="2147483699" r:id="rId8"/>
    <p:sldMasterId id="2147483709" r:id="rId9"/>
    <p:sldMasterId id="2147483723" r:id="rId10"/>
  </p:sldMasterIdLst>
  <p:notesMasterIdLst>
    <p:notesMasterId r:id="rId37"/>
  </p:notesMasterIdLst>
  <p:sldIdLst>
    <p:sldId id="2145706907" r:id="rId11"/>
    <p:sldId id="17293" r:id="rId12"/>
    <p:sldId id="2145706822" r:id="rId13"/>
    <p:sldId id="2145706791" r:id="rId14"/>
    <p:sldId id="2145706817" r:id="rId15"/>
    <p:sldId id="2145706912" r:id="rId16"/>
    <p:sldId id="2145706927" r:id="rId17"/>
    <p:sldId id="2145706926" r:id="rId18"/>
    <p:sldId id="271" r:id="rId19"/>
    <p:sldId id="2145706925" r:id="rId20"/>
    <p:sldId id="287" r:id="rId21"/>
    <p:sldId id="2145706924" r:id="rId22"/>
    <p:sldId id="2145706914" r:id="rId23"/>
    <p:sldId id="308" r:id="rId24"/>
    <p:sldId id="2145706931" r:id="rId25"/>
    <p:sldId id="2145706930" r:id="rId26"/>
    <p:sldId id="4234" r:id="rId27"/>
    <p:sldId id="2145706916" r:id="rId28"/>
    <p:sldId id="2145706919" r:id="rId29"/>
    <p:sldId id="2145706882" r:id="rId30"/>
    <p:sldId id="2145706922" r:id="rId31"/>
    <p:sldId id="2145706923" r:id="rId32"/>
    <p:sldId id="2145706881" r:id="rId33"/>
    <p:sldId id="2145706932" r:id="rId34"/>
    <p:sldId id="2145706933" r:id="rId35"/>
    <p:sldId id="4327"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CBCF3F-E071-402B-8191-90C2C433B13A}" v="4" dt="2021-08-25T14:55:26.240"/>
    <p1510:client id="{796308D1-C2BC-4E92-89CB-5BBEA4E2BBA1}" v="20" dt="2021-08-26T09:55:16.147"/>
  </p1510:revLst>
</p1510:revInfo>
</file>

<file path=ppt/tableStyles.xml><?xml version="1.0" encoding="utf-8"?>
<a:tblStyleLst xmlns:a="http://schemas.openxmlformats.org/drawingml/2006/main" def="{5C22544A-7EE6-4342-B048-85BDC9FD1C3A}">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2" autoAdjust="0"/>
    <p:restoredTop sz="94660"/>
  </p:normalViewPr>
  <p:slideViewPr>
    <p:cSldViewPr snapToGrid="0">
      <p:cViewPr varScale="1">
        <p:scale>
          <a:sx n="92" d="100"/>
          <a:sy n="92" d="100"/>
        </p:scale>
        <p:origin x="108" y="4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Campbell" userId="0efb6aae-b05c-4d89-ad2b-c4a810a588ac" providerId="ADAL" clId="{591A2650-8FAA-483D-AB9C-F2F9B9345F4F}"/>
    <pc:docChg chg="custSel addSld delSld modSld sldOrd delMainMaster">
      <pc:chgData name="Rebecca Campbell" userId="0efb6aae-b05c-4d89-ad2b-c4a810a588ac" providerId="ADAL" clId="{591A2650-8FAA-483D-AB9C-F2F9B9345F4F}" dt="2021-08-19T13:22:17.957" v="2175" actId="20577"/>
      <pc:docMkLst>
        <pc:docMk/>
      </pc:docMkLst>
      <pc:sldChg chg="del">
        <pc:chgData name="Rebecca Campbell" userId="0efb6aae-b05c-4d89-ad2b-c4a810a588ac" providerId="ADAL" clId="{591A2650-8FAA-483D-AB9C-F2F9B9345F4F}" dt="2021-08-19T11:44:35.139" v="2" actId="47"/>
        <pc:sldMkLst>
          <pc:docMk/>
          <pc:sldMk cId="109857222" sldId="256"/>
        </pc:sldMkLst>
      </pc:sldChg>
      <pc:sldChg chg="modSp add del mod">
        <pc:chgData name="Rebecca Campbell" userId="0efb6aae-b05c-4d89-ad2b-c4a810a588ac" providerId="ADAL" clId="{591A2650-8FAA-483D-AB9C-F2F9B9345F4F}" dt="2021-08-19T11:46:31.111" v="165" actId="47"/>
        <pc:sldMkLst>
          <pc:docMk/>
          <pc:sldMk cId="1781883971" sldId="17286"/>
        </pc:sldMkLst>
        <pc:spChg chg="mod">
          <ac:chgData name="Rebecca Campbell" userId="0efb6aae-b05c-4d89-ad2b-c4a810a588ac" providerId="ADAL" clId="{591A2650-8FAA-483D-AB9C-F2F9B9345F4F}" dt="2021-08-19T11:44:55.830" v="84" actId="20577"/>
          <ac:spMkLst>
            <pc:docMk/>
            <pc:sldMk cId="1781883971" sldId="17286"/>
            <ac:spMk id="2" creationId="{F6FFA9A0-CFD0-4A65-945B-AED4297394F5}"/>
          </ac:spMkLst>
        </pc:spChg>
        <pc:spChg chg="mod">
          <ac:chgData name="Rebecca Campbell" userId="0efb6aae-b05c-4d89-ad2b-c4a810a588ac" providerId="ADAL" clId="{591A2650-8FAA-483D-AB9C-F2F9B9345F4F}" dt="2021-08-19T11:44:47.627" v="48" actId="20577"/>
          <ac:spMkLst>
            <pc:docMk/>
            <pc:sldMk cId="1781883971" sldId="17286"/>
            <ac:spMk id="15" creationId="{AF60229E-52F0-4D99-8B73-968E680F25DE}"/>
          </ac:spMkLst>
        </pc:spChg>
      </pc:sldChg>
      <pc:sldChg chg="addSp delSp modSp mod">
        <pc:chgData name="Rebecca Campbell" userId="0efb6aae-b05c-4d89-ad2b-c4a810a588ac" providerId="ADAL" clId="{591A2650-8FAA-483D-AB9C-F2F9B9345F4F}" dt="2021-08-19T12:27:56.196" v="781" actId="1076"/>
        <pc:sldMkLst>
          <pc:docMk/>
          <pc:sldMk cId="622130226" sldId="2145706907"/>
        </pc:sldMkLst>
        <pc:spChg chg="mod">
          <ac:chgData name="Rebecca Campbell" userId="0efb6aae-b05c-4d89-ad2b-c4a810a588ac" providerId="ADAL" clId="{591A2650-8FAA-483D-AB9C-F2F9B9345F4F}" dt="2021-08-19T12:26:51.298" v="744" actId="20577"/>
          <ac:spMkLst>
            <pc:docMk/>
            <pc:sldMk cId="622130226" sldId="2145706907"/>
            <ac:spMk id="2" creationId="{F6FFA9A0-CFD0-4A65-945B-AED4297394F5}"/>
          </ac:spMkLst>
        </pc:spChg>
        <pc:spChg chg="add mod">
          <ac:chgData name="Rebecca Campbell" userId="0efb6aae-b05c-4d89-ad2b-c4a810a588ac" providerId="ADAL" clId="{591A2650-8FAA-483D-AB9C-F2F9B9345F4F}" dt="2021-08-19T12:27:56.196" v="781" actId="1076"/>
          <ac:spMkLst>
            <pc:docMk/>
            <pc:sldMk cId="622130226" sldId="2145706907"/>
            <ac:spMk id="4" creationId="{FBD5F4F9-C7C5-4F75-8248-5BC91D597CC9}"/>
          </ac:spMkLst>
        </pc:spChg>
        <pc:spChg chg="mod">
          <ac:chgData name="Rebecca Campbell" userId="0efb6aae-b05c-4d89-ad2b-c4a810a588ac" providerId="ADAL" clId="{591A2650-8FAA-483D-AB9C-F2F9B9345F4F}" dt="2021-08-19T11:45:57.850" v="109"/>
          <ac:spMkLst>
            <pc:docMk/>
            <pc:sldMk cId="622130226" sldId="2145706907"/>
            <ac:spMk id="14" creationId="{A2B0A1A6-3815-4108-9954-945C8A33ED07}"/>
          </ac:spMkLst>
        </pc:spChg>
        <pc:spChg chg="mod">
          <ac:chgData name="Rebecca Campbell" userId="0efb6aae-b05c-4d89-ad2b-c4a810a588ac" providerId="ADAL" clId="{591A2650-8FAA-483D-AB9C-F2F9B9345F4F}" dt="2021-08-19T11:46:00.987" v="110" actId="6549"/>
          <ac:spMkLst>
            <pc:docMk/>
            <pc:sldMk cId="622130226" sldId="2145706907"/>
            <ac:spMk id="15" creationId="{FC4DA6E4-0917-436E-AEDD-526EDE87A4C7}"/>
          </ac:spMkLst>
        </pc:spChg>
        <pc:grpChg chg="add mod">
          <ac:chgData name="Rebecca Campbell" userId="0efb6aae-b05c-4d89-ad2b-c4a810a588ac" providerId="ADAL" clId="{591A2650-8FAA-483D-AB9C-F2F9B9345F4F}" dt="2021-08-19T11:45:57.850" v="109"/>
          <ac:grpSpMkLst>
            <pc:docMk/>
            <pc:sldMk cId="622130226" sldId="2145706907"/>
            <ac:grpSpMk id="10" creationId="{7245C71A-2D7A-47CA-9F6A-AEABD5A707B8}"/>
          </ac:grpSpMkLst>
        </pc:grpChg>
        <pc:graphicFrameChg chg="del">
          <ac:chgData name="Rebecca Campbell" userId="0efb6aae-b05c-4d89-ad2b-c4a810a588ac" providerId="ADAL" clId="{591A2650-8FAA-483D-AB9C-F2F9B9345F4F}" dt="2021-08-19T11:45:51.636" v="108" actId="21"/>
          <ac:graphicFrameMkLst>
            <pc:docMk/>
            <pc:sldMk cId="622130226" sldId="2145706907"/>
            <ac:graphicFrameMk id="7" creationId="{E2F35730-1941-400B-A5F6-63C9614FCFA7}"/>
          </ac:graphicFrameMkLst>
        </pc:graphicFrameChg>
      </pc:sldChg>
      <pc:sldChg chg="modSp new mod">
        <pc:chgData name="Rebecca Campbell" userId="0efb6aae-b05c-4d89-ad2b-c4a810a588ac" providerId="ADAL" clId="{591A2650-8FAA-483D-AB9C-F2F9B9345F4F}" dt="2021-08-19T12:33:34.885" v="1296" actId="113"/>
        <pc:sldMkLst>
          <pc:docMk/>
          <pc:sldMk cId="172246743" sldId="2145706908"/>
        </pc:sldMkLst>
        <pc:spChg chg="mod">
          <ac:chgData name="Rebecca Campbell" userId="0efb6aae-b05c-4d89-ad2b-c4a810a588ac" providerId="ADAL" clId="{591A2650-8FAA-483D-AB9C-F2F9B9345F4F}" dt="2021-08-19T12:33:34.885" v="1296" actId="113"/>
          <ac:spMkLst>
            <pc:docMk/>
            <pc:sldMk cId="172246743" sldId="2145706908"/>
            <ac:spMk id="2" creationId="{5ECB7F23-77F8-48EA-AC3B-3B45CCA58A3C}"/>
          </ac:spMkLst>
        </pc:spChg>
        <pc:spChg chg="mod">
          <ac:chgData name="Rebecca Campbell" userId="0efb6aae-b05c-4d89-ad2b-c4a810a588ac" providerId="ADAL" clId="{591A2650-8FAA-483D-AB9C-F2F9B9345F4F}" dt="2021-08-19T12:27:05.347" v="746" actId="114"/>
          <ac:spMkLst>
            <pc:docMk/>
            <pc:sldMk cId="172246743" sldId="2145706908"/>
            <ac:spMk id="3" creationId="{A08A01A7-9A95-49ED-93D5-CA1E4C058C7B}"/>
          </ac:spMkLst>
        </pc:spChg>
      </pc:sldChg>
      <pc:sldChg chg="modSp new mod ord">
        <pc:chgData name="Rebecca Campbell" userId="0efb6aae-b05c-4d89-ad2b-c4a810a588ac" providerId="ADAL" clId="{591A2650-8FAA-483D-AB9C-F2F9B9345F4F}" dt="2021-08-19T13:11:27.693" v="1842" actId="20577"/>
        <pc:sldMkLst>
          <pc:docMk/>
          <pc:sldMk cId="1670054631" sldId="2145706909"/>
        </pc:sldMkLst>
        <pc:spChg chg="mod">
          <ac:chgData name="Rebecca Campbell" userId="0efb6aae-b05c-4d89-ad2b-c4a810a588ac" providerId="ADAL" clId="{591A2650-8FAA-483D-AB9C-F2F9B9345F4F}" dt="2021-08-19T13:11:27.693" v="1842" actId="20577"/>
          <ac:spMkLst>
            <pc:docMk/>
            <pc:sldMk cId="1670054631" sldId="2145706909"/>
            <ac:spMk id="2" creationId="{C132C468-0DFC-4A27-BB68-BE0ED220BB0E}"/>
          </ac:spMkLst>
        </pc:spChg>
        <pc:spChg chg="mod">
          <ac:chgData name="Rebecca Campbell" userId="0efb6aae-b05c-4d89-ad2b-c4a810a588ac" providerId="ADAL" clId="{591A2650-8FAA-483D-AB9C-F2F9B9345F4F}" dt="2021-08-19T12:18:35.361" v="277" actId="20577"/>
          <ac:spMkLst>
            <pc:docMk/>
            <pc:sldMk cId="1670054631" sldId="2145706909"/>
            <ac:spMk id="3" creationId="{CB8DF74F-E4D5-4E7A-87C2-369736D29547}"/>
          </ac:spMkLst>
        </pc:spChg>
      </pc:sldChg>
      <pc:sldChg chg="modSp add mod">
        <pc:chgData name="Rebecca Campbell" userId="0efb6aae-b05c-4d89-ad2b-c4a810a588ac" providerId="ADAL" clId="{591A2650-8FAA-483D-AB9C-F2F9B9345F4F}" dt="2021-08-19T13:22:17.957" v="2175" actId="20577"/>
        <pc:sldMkLst>
          <pc:docMk/>
          <pc:sldMk cId="2003738517" sldId="2145706910"/>
        </pc:sldMkLst>
        <pc:spChg chg="mod">
          <ac:chgData name="Rebecca Campbell" userId="0efb6aae-b05c-4d89-ad2b-c4a810a588ac" providerId="ADAL" clId="{591A2650-8FAA-483D-AB9C-F2F9B9345F4F}" dt="2021-08-19T13:22:17.957" v="2175" actId="20577"/>
          <ac:spMkLst>
            <pc:docMk/>
            <pc:sldMk cId="2003738517" sldId="2145706910"/>
            <ac:spMk id="2" creationId="{5ECB7F23-77F8-48EA-AC3B-3B45CCA58A3C}"/>
          </ac:spMkLst>
        </pc:spChg>
        <pc:spChg chg="mod">
          <ac:chgData name="Rebecca Campbell" userId="0efb6aae-b05c-4d89-ad2b-c4a810a588ac" providerId="ADAL" clId="{591A2650-8FAA-483D-AB9C-F2F9B9345F4F}" dt="2021-08-19T12:28:07.066" v="796" actId="20577"/>
          <ac:spMkLst>
            <pc:docMk/>
            <pc:sldMk cId="2003738517" sldId="2145706910"/>
            <ac:spMk id="3" creationId="{A08A01A7-9A95-49ED-93D5-CA1E4C058C7B}"/>
          </ac:spMkLst>
        </pc:spChg>
      </pc:sldChg>
      <pc:sldChg chg="modSp add mod">
        <pc:chgData name="Rebecca Campbell" userId="0efb6aae-b05c-4d89-ad2b-c4a810a588ac" providerId="ADAL" clId="{591A2650-8FAA-483D-AB9C-F2F9B9345F4F}" dt="2021-08-19T12:37:07.806" v="1537" actId="20577"/>
        <pc:sldMkLst>
          <pc:docMk/>
          <pc:sldMk cId="900109400" sldId="2145706911"/>
        </pc:sldMkLst>
        <pc:spChg chg="mod">
          <ac:chgData name="Rebecca Campbell" userId="0efb6aae-b05c-4d89-ad2b-c4a810a588ac" providerId="ADAL" clId="{591A2650-8FAA-483D-AB9C-F2F9B9345F4F}" dt="2021-08-19T12:37:04.683" v="1536" actId="20577"/>
          <ac:spMkLst>
            <pc:docMk/>
            <pc:sldMk cId="900109400" sldId="2145706911"/>
            <ac:spMk id="2" creationId="{5ECB7F23-77F8-48EA-AC3B-3B45CCA58A3C}"/>
          </ac:spMkLst>
        </pc:spChg>
        <pc:spChg chg="mod">
          <ac:chgData name="Rebecca Campbell" userId="0efb6aae-b05c-4d89-ad2b-c4a810a588ac" providerId="ADAL" clId="{591A2650-8FAA-483D-AB9C-F2F9B9345F4F}" dt="2021-08-19T12:37:07.806" v="1537" actId="20577"/>
          <ac:spMkLst>
            <pc:docMk/>
            <pc:sldMk cId="900109400" sldId="2145706911"/>
            <ac:spMk id="3" creationId="{A08A01A7-9A95-49ED-93D5-CA1E4C058C7B}"/>
          </ac:spMkLst>
        </pc:spChg>
      </pc:sldChg>
      <pc:sldMasterChg chg="del delSldLayout">
        <pc:chgData name="Rebecca Campbell" userId="0efb6aae-b05c-4d89-ad2b-c4a810a588ac" providerId="ADAL" clId="{591A2650-8FAA-483D-AB9C-F2F9B9345F4F}" dt="2021-08-19T11:44:35.139" v="2" actId="47"/>
        <pc:sldMasterMkLst>
          <pc:docMk/>
          <pc:sldMasterMk cId="2460954070" sldId="2147483660"/>
        </pc:sldMasterMkLst>
        <pc:sldLayoutChg chg="del">
          <pc:chgData name="Rebecca Campbell" userId="0efb6aae-b05c-4d89-ad2b-c4a810a588ac" providerId="ADAL" clId="{591A2650-8FAA-483D-AB9C-F2F9B9345F4F}" dt="2021-08-19T11:44:35.139" v="2" actId="47"/>
          <pc:sldLayoutMkLst>
            <pc:docMk/>
            <pc:sldMasterMk cId="2460954070" sldId="2147483660"/>
            <pc:sldLayoutMk cId="2385387890" sldId="2147483661"/>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949138452" sldId="2147483662"/>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2591524520" sldId="2147483663"/>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1203092039" sldId="2147483664"/>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3733172339" sldId="2147483665"/>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3210312558" sldId="2147483666"/>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3146388984" sldId="2147483667"/>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3171841454" sldId="2147483668"/>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1718958274" sldId="2147483669"/>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2202905451" sldId="2147483670"/>
          </pc:sldLayoutMkLst>
        </pc:sldLayoutChg>
        <pc:sldLayoutChg chg="del">
          <pc:chgData name="Rebecca Campbell" userId="0efb6aae-b05c-4d89-ad2b-c4a810a588ac" providerId="ADAL" clId="{591A2650-8FAA-483D-AB9C-F2F9B9345F4F}" dt="2021-08-19T11:44:35.139" v="2" actId="47"/>
          <pc:sldLayoutMkLst>
            <pc:docMk/>
            <pc:sldMasterMk cId="2460954070" sldId="2147483660"/>
            <pc:sldLayoutMk cId="3479445657" sldId="2147483671"/>
          </pc:sldLayoutMkLst>
        </pc:sldLayoutChg>
      </pc:sldMasterChg>
    </pc:docChg>
  </pc:docChgLst>
  <pc:docChgLst>
    <pc:chgData name="Hannah Hampson" userId="S::hannah.hampson@england.nhs.uk::81509245-5bd3-4028-9ded-7c4521882c8e" providerId="AD" clId="Web-{450B31B5-0130-4EF6-82DB-97FE46592404}"/>
    <pc:docChg chg="modSld">
      <pc:chgData name="Hannah Hampson" userId="S::hannah.hampson@england.nhs.uk::81509245-5bd3-4028-9ded-7c4521882c8e" providerId="AD" clId="Web-{450B31B5-0130-4EF6-82DB-97FE46592404}" dt="2021-08-24T13:45:48.122" v="0" actId="20577"/>
      <pc:docMkLst>
        <pc:docMk/>
      </pc:docMkLst>
      <pc:sldChg chg="modSp">
        <pc:chgData name="Hannah Hampson" userId="S::hannah.hampson@england.nhs.uk::81509245-5bd3-4028-9ded-7c4521882c8e" providerId="AD" clId="Web-{450B31B5-0130-4EF6-82DB-97FE46592404}" dt="2021-08-24T13:45:48.122" v="0" actId="20577"/>
        <pc:sldMkLst>
          <pc:docMk/>
          <pc:sldMk cId="622130226" sldId="2145706907"/>
        </pc:sldMkLst>
        <pc:spChg chg="mod">
          <ac:chgData name="Hannah Hampson" userId="S::hannah.hampson@england.nhs.uk::81509245-5bd3-4028-9ded-7c4521882c8e" providerId="AD" clId="Web-{450B31B5-0130-4EF6-82DB-97FE46592404}" dt="2021-08-24T13:45:48.122" v="0" actId="20577"/>
          <ac:spMkLst>
            <pc:docMk/>
            <pc:sldMk cId="622130226" sldId="2145706907"/>
            <ac:spMk id="2" creationId="{F6FFA9A0-CFD0-4A65-945B-AED4297394F5}"/>
          </ac:spMkLst>
        </pc:spChg>
      </pc:sldChg>
    </pc:docChg>
  </pc:docChgLst>
  <pc:docChgLst>
    <pc:chgData name="Hannah Hampson" userId="81509245-5bd3-4028-9ded-7c4521882c8e" providerId="ADAL" clId="{2C1A2B24-6027-4EEE-9888-0FA1336476CD}"/>
    <pc:docChg chg="undo custSel addSld delSld modSld sldOrd">
      <pc:chgData name="Hannah Hampson" userId="81509245-5bd3-4028-9ded-7c4521882c8e" providerId="ADAL" clId="{2C1A2B24-6027-4EEE-9888-0FA1336476CD}" dt="2021-08-24T09:29:50.908" v="946" actId="2696"/>
      <pc:docMkLst>
        <pc:docMk/>
      </pc:docMkLst>
      <pc:sldChg chg="modSp mod">
        <pc:chgData name="Hannah Hampson" userId="81509245-5bd3-4028-9ded-7c4521882c8e" providerId="ADAL" clId="{2C1A2B24-6027-4EEE-9888-0FA1336476CD}" dt="2021-08-24T09:28:45.119" v="944" actId="1076"/>
        <pc:sldMkLst>
          <pc:docMk/>
          <pc:sldMk cId="208710336" sldId="271"/>
        </pc:sldMkLst>
        <pc:spChg chg="mod">
          <ac:chgData name="Hannah Hampson" userId="81509245-5bd3-4028-9ded-7c4521882c8e" providerId="ADAL" clId="{2C1A2B24-6027-4EEE-9888-0FA1336476CD}" dt="2021-08-24T09:28:41.300" v="943" actId="1076"/>
          <ac:spMkLst>
            <pc:docMk/>
            <pc:sldMk cId="208710336" sldId="271"/>
            <ac:spMk id="2" creationId="{00000000-0000-0000-0000-000000000000}"/>
          </ac:spMkLst>
        </pc:spChg>
        <pc:picChg chg="mod">
          <ac:chgData name="Hannah Hampson" userId="81509245-5bd3-4028-9ded-7c4521882c8e" providerId="ADAL" clId="{2C1A2B24-6027-4EEE-9888-0FA1336476CD}" dt="2021-08-24T09:28:45.119" v="944" actId="1076"/>
          <ac:picMkLst>
            <pc:docMk/>
            <pc:sldMk cId="208710336" sldId="271"/>
            <ac:picMk id="3" creationId="{00000000-0000-0000-0000-000000000000}"/>
          </ac:picMkLst>
        </pc:picChg>
      </pc:sldChg>
      <pc:sldChg chg="delSp modSp add del mod delAnim">
        <pc:chgData name="Hannah Hampson" userId="81509245-5bd3-4028-9ded-7c4521882c8e" providerId="ADAL" clId="{2C1A2B24-6027-4EEE-9888-0FA1336476CD}" dt="2021-08-24T09:25:49.048" v="914" actId="47"/>
        <pc:sldMkLst>
          <pc:docMk/>
          <pc:sldMk cId="797246071" sldId="274"/>
        </pc:sldMkLst>
        <pc:spChg chg="mod">
          <ac:chgData name="Hannah Hampson" userId="81509245-5bd3-4028-9ded-7c4521882c8e" providerId="ADAL" clId="{2C1A2B24-6027-4EEE-9888-0FA1336476CD}" dt="2021-08-24T09:24:08.018" v="896" actId="1076"/>
          <ac:spMkLst>
            <pc:docMk/>
            <pc:sldMk cId="797246071" sldId="274"/>
            <ac:spMk id="2" creationId="{00000000-0000-0000-0000-000000000000}"/>
          </ac:spMkLst>
        </pc:spChg>
        <pc:spChg chg="mod">
          <ac:chgData name="Hannah Hampson" userId="81509245-5bd3-4028-9ded-7c4521882c8e" providerId="ADAL" clId="{2C1A2B24-6027-4EEE-9888-0FA1336476CD}" dt="2021-08-24T09:24:12.872" v="897" actId="1076"/>
          <ac:spMkLst>
            <pc:docMk/>
            <pc:sldMk cId="797246071" sldId="274"/>
            <ac:spMk id="3" creationId="{00000000-0000-0000-0000-000000000000}"/>
          </ac:spMkLst>
        </pc:spChg>
        <pc:spChg chg="del">
          <ac:chgData name="Hannah Hampson" userId="81509245-5bd3-4028-9ded-7c4521882c8e" providerId="ADAL" clId="{2C1A2B24-6027-4EEE-9888-0FA1336476CD}" dt="2021-08-24T09:24:33.976" v="898" actId="478"/>
          <ac:spMkLst>
            <pc:docMk/>
            <pc:sldMk cId="797246071" sldId="274"/>
            <ac:spMk id="4" creationId="{00000000-0000-0000-0000-000000000000}"/>
          </ac:spMkLst>
        </pc:spChg>
      </pc:sldChg>
      <pc:sldChg chg="modSp mod">
        <pc:chgData name="Hannah Hampson" userId="81509245-5bd3-4028-9ded-7c4521882c8e" providerId="ADAL" clId="{2C1A2B24-6027-4EEE-9888-0FA1336476CD}" dt="2021-08-24T09:23:50.699" v="891" actId="1076"/>
        <pc:sldMkLst>
          <pc:docMk/>
          <pc:sldMk cId="880019429" sldId="278"/>
        </pc:sldMkLst>
        <pc:spChg chg="mod">
          <ac:chgData name="Hannah Hampson" userId="81509245-5bd3-4028-9ded-7c4521882c8e" providerId="ADAL" clId="{2C1A2B24-6027-4EEE-9888-0FA1336476CD}" dt="2021-08-24T09:23:47.973" v="890" actId="14100"/>
          <ac:spMkLst>
            <pc:docMk/>
            <pc:sldMk cId="880019429" sldId="278"/>
            <ac:spMk id="2" creationId="{00000000-0000-0000-0000-000000000000}"/>
          </ac:spMkLst>
        </pc:spChg>
        <pc:picChg chg="mod">
          <ac:chgData name="Hannah Hampson" userId="81509245-5bd3-4028-9ded-7c4521882c8e" providerId="ADAL" clId="{2C1A2B24-6027-4EEE-9888-0FA1336476CD}" dt="2021-08-24T09:23:50.699" v="891" actId="1076"/>
          <ac:picMkLst>
            <pc:docMk/>
            <pc:sldMk cId="880019429" sldId="278"/>
            <ac:picMk id="10" creationId="{00000000-0000-0000-0000-000000000000}"/>
          </ac:picMkLst>
        </pc:picChg>
      </pc:sldChg>
      <pc:sldChg chg="modSp mod">
        <pc:chgData name="Hannah Hampson" userId="81509245-5bd3-4028-9ded-7c4521882c8e" providerId="ADAL" clId="{2C1A2B24-6027-4EEE-9888-0FA1336476CD}" dt="2021-08-24T09:29:14.617" v="945" actId="1076"/>
        <pc:sldMkLst>
          <pc:docMk/>
          <pc:sldMk cId="18891144" sldId="287"/>
        </pc:sldMkLst>
        <pc:spChg chg="mod">
          <ac:chgData name="Hannah Hampson" userId="81509245-5bd3-4028-9ded-7c4521882c8e" providerId="ADAL" clId="{2C1A2B24-6027-4EEE-9888-0FA1336476CD}" dt="2021-08-24T09:24:00.103" v="894" actId="1076"/>
          <ac:spMkLst>
            <pc:docMk/>
            <pc:sldMk cId="18891144" sldId="287"/>
            <ac:spMk id="2" creationId="{00000000-0000-0000-0000-000000000000}"/>
          </ac:spMkLst>
        </pc:spChg>
        <pc:graphicFrameChg chg="mod">
          <ac:chgData name="Hannah Hampson" userId="81509245-5bd3-4028-9ded-7c4521882c8e" providerId="ADAL" clId="{2C1A2B24-6027-4EEE-9888-0FA1336476CD}" dt="2021-08-24T09:29:14.617" v="945" actId="1076"/>
          <ac:graphicFrameMkLst>
            <pc:docMk/>
            <pc:sldMk cId="18891144" sldId="287"/>
            <ac:graphicFrameMk id="4" creationId="{00000000-0000-0000-0000-000000000000}"/>
          </ac:graphicFrameMkLst>
        </pc:graphicFrameChg>
      </pc:sldChg>
      <pc:sldChg chg="addSp delSp modSp mod setBg">
        <pc:chgData name="Hannah Hampson" userId="81509245-5bd3-4028-9ded-7c4521882c8e" providerId="ADAL" clId="{2C1A2B24-6027-4EEE-9888-0FA1336476CD}" dt="2021-08-24T08:07:12.441" v="856" actId="26606"/>
        <pc:sldMkLst>
          <pc:docMk/>
          <pc:sldMk cId="3101338334" sldId="308"/>
        </pc:sldMkLst>
        <pc:spChg chg="mod">
          <ac:chgData name="Hannah Hampson" userId="81509245-5bd3-4028-9ded-7c4521882c8e" providerId="ADAL" clId="{2C1A2B24-6027-4EEE-9888-0FA1336476CD}" dt="2021-08-24T08:07:12.441" v="856" actId="26606"/>
          <ac:spMkLst>
            <pc:docMk/>
            <pc:sldMk cId="3101338334" sldId="308"/>
            <ac:spMk id="8" creationId="{529CF2BA-F685-4541-BF72-F6848A80DDA5}"/>
          </ac:spMkLst>
        </pc:spChg>
        <pc:spChg chg="mod">
          <ac:chgData name="Hannah Hampson" userId="81509245-5bd3-4028-9ded-7c4521882c8e" providerId="ADAL" clId="{2C1A2B24-6027-4EEE-9888-0FA1336476CD}" dt="2021-08-24T08:07:12.441" v="856" actId="26606"/>
          <ac:spMkLst>
            <pc:docMk/>
            <pc:sldMk cId="3101338334" sldId="308"/>
            <ac:spMk id="22" creationId="{394CB7D6-E15A-47F4-B439-8E07CDBB11A8}"/>
          </ac:spMkLst>
        </pc:spChg>
        <pc:spChg chg="add del">
          <ac:chgData name="Hannah Hampson" userId="81509245-5bd3-4028-9ded-7c4521882c8e" providerId="ADAL" clId="{2C1A2B24-6027-4EEE-9888-0FA1336476CD}" dt="2021-08-24T08:07:12.441" v="856" actId="26606"/>
          <ac:spMkLst>
            <pc:docMk/>
            <pc:sldMk cId="3101338334" sldId="308"/>
            <ac:spMk id="27" creationId="{91F32EBA-ED97-466E-8CFA-8382584155D0}"/>
          </ac:spMkLst>
        </pc:spChg>
        <pc:spChg chg="add del">
          <ac:chgData name="Hannah Hampson" userId="81509245-5bd3-4028-9ded-7c4521882c8e" providerId="ADAL" clId="{2C1A2B24-6027-4EEE-9888-0FA1336476CD}" dt="2021-08-24T08:07:12.441" v="856" actId="26606"/>
          <ac:spMkLst>
            <pc:docMk/>
            <pc:sldMk cId="3101338334" sldId="308"/>
            <ac:spMk id="29" creationId="{62A38935-BB53-4DF7-A56E-48DD25B685D7}"/>
          </ac:spMkLst>
        </pc:spChg>
        <pc:picChg chg="mod ord">
          <ac:chgData name="Hannah Hampson" userId="81509245-5bd3-4028-9ded-7c4521882c8e" providerId="ADAL" clId="{2C1A2B24-6027-4EEE-9888-0FA1336476CD}" dt="2021-08-24T08:07:12.441" v="856" actId="26606"/>
          <ac:picMkLst>
            <pc:docMk/>
            <pc:sldMk cId="3101338334" sldId="308"/>
            <ac:picMk id="3" creationId="{CC4F8259-434C-4187-954A-3A2DD9D3777E}"/>
          </ac:picMkLst>
        </pc:picChg>
      </pc:sldChg>
      <pc:sldChg chg="delSp modSp mod">
        <pc:chgData name="Hannah Hampson" userId="81509245-5bd3-4028-9ded-7c4521882c8e" providerId="ADAL" clId="{2C1A2B24-6027-4EEE-9888-0FA1336476CD}" dt="2021-08-24T07:37:30.928" v="63" actId="1076"/>
        <pc:sldMkLst>
          <pc:docMk/>
          <pc:sldMk cId="3206805920" sldId="17293"/>
        </pc:sldMkLst>
        <pc:spChg chg="mod">
          <ac:chgData name="Hannah Hampson" userId="81509245-5bd3-4028-9ded-7c4521882c8e" providerId="ADAL" clId="{2C1A2B24-6027-4EEE-9888-0FA1336476CD}" dt="2021-08-24T07:34:22.007" v="24" actId="20577"/>
          <ac:spMkLst>
            <pc:docMk/>
            <pc:sldMk cId="3206805920" sldId="17293"/>
            <ac:spMk id="2" creationId="{F6FFA9A0-CFD0-4A65-945B-AED4297394F5}"/>
          </ac:spMkLst>
        </pc:spChg>
        <pc:spChg chg="del">
          <ac:chgData name="Hannah Hampson" userId="81509245-5bd3-4028-9ded-7c4521882c8e" providerId="ADAL" clId="{2C1A2B24-6027-4EEE-9888-0FA1336476CD}" dt="2021-08-24T07:34:25.518" v="25" actId="478"/>
          <ac:spMkLst>
            <pc:docMk/>
            <pc:sldMk cId="3206805920" sldId="17293"/>
            <ac:spMk id="8" creationId="{44594220-0D52-4ECD-8436-57E63561B911}"/>
          </ac:spMkLst>
        </pc:spChg>
        <pc:cxnChg chg="mod">
          <ac:chgData name="Hannah Hampson" userId="81509245-5bd3-4028-9ded-7c4521882c8e" providerId="ADAL" clId="{2C1A2B24-6027-4EEE-9888-0FA1336476CD}" dt="2021-08-24T07:37:30.928" v="63" actId="1076"/>
          <ac:cxnSpMkLst>
            <pc:docMk/>
            <pc:sldMk cId="3206805920" sldId="17293"/>
            <ac:cxnSpMk id="5" creationId="{6E291037-4FDE-3D41-AD8F-8A26A4584DE6}"/>
          </ac:cxnSpMkLst>
        </pc:cxnChg>
      </pc:sldChg>
      <pc:sldChg chg="modSp mod setBg">
        <pc:chgData name="Hannah Hampson" userId="81509245-5bd3-4028-9ded-7c4521882c8e" providerId="ADAL" clId="{2C1A2B24-6027-4EEE-9888-0FA1336476CD}" dt="2021-08-24T08:05:02.048" v="848" actId="20577"/>
        <pc:sldMkLst>
          <pc:docMk/>
          <pc:sldMk cId="1647679821" sldId="2145706791"/>
        </pc:sldMkLst>
        <pc:spChg chg="mod">
          <ac:chgData name="Hannah Hampson" userId="81509245-5bd3-4028-9ded-7c4521882c8e" providerId="ADAL" clId="{2C1A2B24-6027-4EEE-9888-0FA1336476CD}" dt="2021-08-24T08:05:02.048" v="848" actId="20577"/>
          <ac:spMkLst>
            <pc:docMk/>
            <pc:sldMk cId="1647679821" sldId="2145706791"/>
            <ac:spMk id="3" creationId="{403D4143-D1EC-48A6-B128-2BE568EA6E41}"/>
          </ac:spMkLst>
        </pc:spChg>
      </pc:sldChg>
      <pc:sldChg chg="del setBg">
        <pc:chgData name="Hannah Hampson" userId="81509245-5bd3-4028-9ded-7c4521882c8e" providerId="ADAL" clId="{2C1A2B24-6027-4EEE-9888-0FA1336476CD}" dt="2021-08-24T08:05:07.661" v="849" actId="47"/>
        <pc:sldMkLst>
          <pc:docMk/>
          <pc:sldMk cId="1354361686" sldId="2145706794"/>
        </pc:sldMkLst>
      </pc:sldChg>
      <pc:sldChg chg="setBg">
        <pc:chgData name="Hannah Hampson" userId="81509245-5bd3-4028-9ded-7c4521882c8e" providerId="ADAL" clId="{2C1A2B24-6027-4EEE-9888-0FA1336476CD}" dt="2021-08-24T07:36:30.954" v="28"/>
        <pc:sldMkLst>
          <pc:docMk/>
          <pc:sldMk cId="584797708" sldId="2145706817"/>
        </pc:sldMkLst>
      </pc:sldChg>
      <pc:sldChg chg="setBg">
        <pc:chgData name="Hannah Hampson" userId="81509245-5bd3-4028-9ded-7c4521882c8e" providerId="ADAL" clId="{2C1A2B24-6027-4EEE-9888-0FA1336476CD}" dt="2021-08-24T07:35:55.146" v="27"/>
        <pc:sldMkLst>
          <pc:docMk/>
          <pc:sldMk cId="4165810664" sldId="2145706822"/>
        </pc:sldMkLst>
      </pc:sldChg>
      <pc:sldChg chg="del">
        <pc:chgData name="Hannah Hampson" userId="81509245-5bd3-4028-9ded-7c4521882c8e" providerId="ADAL" clId="{2C1A2B24-6027-4EEE-9888-0FA1336476CD}" dt="2021-08-24T08:04:10.374" v="838" actId="47"/>
        <pc:sldMkLst>
          <pc:docMk/>
          <pc:sldMk cId="2982231913" sldId="2145706879"/>
        </pc:sldMkLst>
      </pc:sldChg>
      <pc:sldChg chg="modSp mod ord">
        <pc:chgData name="Hannah Hampson" userId="81509245-5bd3-4028-9ded-7c4521882c8e" providerId="ADAL" clId="{2C1A2B24-6027-4EEE-9888-0FA1336476CD}" dt="2021-08-24T08:04:23.075" v="840"/>
        <pc:sldMkLst>
          <pc:docMk/>
          <pc:sldMk cId="1091011188" sldId="2145706881"/>
        </pc:sldMkLst>
        <pc:spChg chg="mod">
          <ac:chgData name="Hannah Hampson" userId="81509245-5bd3-4028-9ded-7c4521882c8e" providerId="ADAL" clId="{2C1A2B24-6027-4EEE-9888-0FA1336476CD}" dt="2021-08-24T08:03:43.671" v="836" actId="14100"/>
          <ac:spMkLst>
            <pc:docMk/>
            <pc:sldMk cId="1091011188" sldId="2145706881"/>
            <ac:spMk id="2" creationId="{F76174D8-0CC1-4477-B429-EF8382D3B9CC}"/>
          </ac:spMkLst>
        </pc:spChg>
        <pc:spChg chg="mod">
          <ac:chgData name="Hannah Hampson" userId="81509245-5bd3-4028-9ded-7c4521882c8e" providerId="ADAL" clId="{2C1A2B24-6027-4EEE-9888-0FA1336476CD}" dt="2021-08-24T08:03:02.508" v="734" actId="255"/>
          <ac:spMkLst>
            <pc:docMk/>
            <pc:sldMk cId="1091011188" sldId="2145706881"/>
            <ac:spMk id="3" creationId="{448024DD-7563-4098-82AF-73B4B9A0F8C5}"/>
          </ac:spMkLst>
        </pc:spChg>
      </pc:sldChg>
      <pc:sldChg chg="delSp">
        <pc:chgData name="Hannah Hampson" userId="81509245-5bd3-4028-9ded-7c4521882c8e" providerId="ADAL" clId="{2C1A2B24-6027-4EEE-9888-0FA1336476CD}" dt="2021-08-24T07:59:10.881" v="615"/>
        <pc:sldMkLst>
          <pc:docMk/>
          <pc:sldMk cId="1317933281" sldId="2145706882"/>
        </pc:sldMkLst>
        <pc:graphicFrameChg chg="del">
          <ac:chgData name="Hannah Hampson" userId="81509245-5bd3-4028-9ded-7c4521882c8e" providerId="ADAL" clId="{2C1A2B24-6027-4EEE-9888-0FA1336476CD}" dt="2021-08-24T07:59:10.881" v="615"/>
          <ac:graphicFrameMkLst>
            <pc:docMk/>
            <pc:sldMk cId="1317933281" sldId="2145706882"/>
            <ac:graphicFrameMk id="4" creationId="{D3A2870F-E4EB-4A1E-92A4-60E9BDEE3FFC}"/>
          </ac:graphicFrameMkLst>
        </pc:graphicFrameChg>
      </pc:sldChg>
      <pc:sldChg chg="delSp modSp mod">
        <pc:chgData name="Hannah Hampson" userId="81509245-5bd3-4028-9ded-7c4521882c8e" providerId="ADAL" clId="{2C1A2B24-6027-4EEE-9888-0FA1336476CD}" dt="2021-08-24T07:55:30.356" v="590" actId="20577"/>
        <pc:sldMkLst>
          <pc:docMk/>
          <pc:sldMk cId="622130226" sldId="2145706907"/>
        </pc:sldMkLst>
        <pc:spChg chg="mod">
          <ac:chgData name="Hannah Hampson" userId="81509245-5bd3-4028-9ded-7c4521882c8e" providerId="ADAL" clId="{2C1A2B24-6027-4EEE-9888-0FA1336476CD}" dt="2021-08-24T07:55:30.356" v="590" actId="20577"/>
          <ac:spMkLst>
            <pc:docMk/>
            <pc:sldMk cId="622130226" sldId="2145706907"/>
            <ac:spMk id="2" creationId="{F6FFA9A0-CFD0-4A65-945B-AED4297394F5}"/>
          </ac:spMkLst>
        </pc:spChg>
        <pc:spChg chg="mod">
          <ac:chgData name="Hannah Hampson" userId="81509245-5bd3-4028-9ded-7c4521882c8e" providerId="ADAL" clId="{2C1A2B24-6027-4EEE-9888-0FA1336476CD}" dt="2021-08-24T07:54:35.135" v="500" actId="1076"/>
          <ac:spMkLst>
            <pc:docMk/>
            <pc:sldMk cId="622130226" sldId="2145706907"/>
            <ac:spMk id="4" creationId="{FBD5F4F9-C7C5-4F75-8248-5BC91D597CC9}"/>
          </ac:spMkLst>
        </pc:spChg>
        <pc:grpChg chg="del mod">
          <ac:chgData name="Hannah Hampson" userId="81509245-5bd3-4028-9ded-7c4521882c8e" providerId="ADAL" clId="{2C1A2B24-6027-4EEE-9888-0FA1336476CD}" dt="2021-08-24T07:55:11.337" v="546" actId="478"/>
          <ac:grpSpMkLst>
            <pc:docMk/>
            <pc:sldMk cId="622130226" sldId="2145706907"/>
            <ac:grpSpMk id="10" creationId="{7245C71A-2D7A-47CA-9F6A-AEABD5A707B8}"/>
          </ac:grpSpMkLst>
        </pc:grpChg>
      </pc:sldChg>
      <pc:sldChg chg="del">
        <pc:chgData name="Hannah Hampson" userId="81509245-5bd3-4028-9ded-7c4521882c8e" providerId="ADAL" clId="{2C1A2B24-6027-4EEE-9888-0FA1336476CD}" dt="2021-08-24T07:54:07.469" v="482" actId="47"/>
        <pc:sldMkLst>
          <pc:docMk/>
          <pc:sldMk cId="172246743" sldId="2145706908"/>
        </pc:sldMkLst>
      </pc:sldChg>
      <pc:sldChg chg="del">
        <pc:chgData name="Hannah Hampson" userId="81509245-5bd3-4028-9ded-7c4521882c8e" providerId="ADAL" clId="{2C1A2B24-6027-4EEE-9888-0FA1336476CD}" dt="2021-08-24T07:32:18.319" v="0" actId="47"/>
        <pc:sldMkLst>
          <pc:docMk/>
          <pc:sldMk cId="1670054631" sldId="2145706909"/>
        </pc:sldMkLst>
      </pc:sldChg>
      <pc:sldChg chg="addSp modSp del mod">
        <pc:chgData name="Hannah Hampson" userId="81509245-5bd3-4028-9ded-7c4521882c8e" providerId="ADAL" clId="{2C1A2B24-6027-4EEE-9888-0FA1336476CD}" dt="2021-08-24T09:29:50.908" v="946" actId="2696"/>
        <pc:sldMkLst>
          <pc:docMk/>
          <pc:sldMk cId="2003738517" sldId="2145706910"/>
        </pc:sldMkLst>
        <pc:spChg chg="add mod">
          <ac:chgData name="Hannah Hampson" userId="81509245-5bd3-4028-9ded-7c4521882c8e" providerId="ADAL" clId="{2C1A2B24-6027-4EEE-9888-0FA1336476CD}" dt="2021-08-24T08:04:43.761" v="844" actId="207"/>
          <ac:spMkLst>
            <pc:docMk/>
            <pc:sldMk cId="2003738517" sldId="2145706910"/>
            <ac:spMk id="4" creationId="{D36A2A23-3765-4EEC-ADF3-42E45CEB91C5}"/>
          </ac:spMkLst>
        </pc:spChg>
      </pc:sldChg>
      <pc:sldChg chg="del">
        <pc:chgData name="Hannah Hampson" userId="81509245-5bd3-4028-9ded-7c4521882c8e" providerId="ADAL" clId="{2C1A2B24-6027-4EEE-9888-0FA1336476CD}" dt="2021-08-24T08:03:54.182" v="837" actId="47"/>
        <pc:sldMkLst>
          <pc:docMk/>
          <pc:sldMk cId="900109400" sldId="2145706911"/>
        </pc:sldMkLst>
      </pc:sldChg>
      <pc:sldChg chg="addSp delSp modSp mod">
        <pc:chgData name="Hannah Hampson" userId="81509245-5bd3-4028-9ded-7c4521882c8e" providerId="ADAL" clId="{2C1A2B24-6027-4EEE-9888-0FA1336476CD}" dt="2021-08-24T07:37:36.558" v="65" actId="1076"/>
        <pc:sldMkLst>
          <pc:docMk/>
          <pc:sldMk cId="2481875260" sldId="2145706912"/>
        </pc:sldMkLst>
        <pc:spChg chg="mod">
          <ac:chgData name="Hannah Hampson" userId="81509245-5bd3-4028-9ded-7c4521882c8e" providerId="ADAL" clId="{2C1A2B24-6027-4EEE-9888-0FA1336476CD}" dt="2021-08-24T07:37:17.870" v="61" actId="20577"/>
          <ac:spMkLst>
            <pc:docMk/>
            <pc:sldMk cId="2481875260" sldId="2145706912"/>
            <ac:spMk id="2" creationId="{F6FFA9A0-CFD0-4A65-945B-AED4297394F5}"/>
          </ac:spMkLst>
        </pc:spChg>
        <pc:grpChg chg="del">
          <ac:chgData name="Hannah Hampson" userId="81509245-5bd3-4028-9ded-7c4521882c8e" providerId="ADAL" clId="{2C1A2B24-6027-4EEE-9888-0FA1336476CD}" dt="2021-08-24T07:37:03.078" v="29" actId="478"/>
          <ac:grpSpMkLst>
            <pc:docMk/>
            <pc:sldMk cId="2481875260" sldId="2145706912"/>
            <ac:grpSpMk id="41" creationId="{46183A84-6DA2-4C11-977B-8495B4AD318D}"/>
          </ac:grpSpMkLst>
        </pc:grpChg>
        <pc:cxnChg chg="add mod">
          <ac:chgData name="Hannah Hampson" userId="81509245-5bd3-4028-9ded-7c4521882c8e" providerId="ADAL" clId="{2C1A2B24-6027-4EEE-9888-0FA1336476CD}" dt="2021-08-24T07:37:36.558" v="65" actId="1076"/>
          <ac:cxnSpMkLst>
            <pc:docMk/>
            <pc:sldMk cId="2481875260" sldId="2145706912"/>
            <ac:cxnSpMk id="14" creationId="{49316DD1-E02D-4B63-B401-5F85E726F143}"/>
          </ac:cxnSpMkLst>
        </pc:cxnChg>
      </pc:sldChg>
      <pc:sldChg chg="modSp new del mod">
        <pc:chgData name="Hannah Hampson" userId="81509245-5bd3-4028-9ded-7c4521882c8e" providerId="ADAL" clId="{2C1A2B24-6027-4EEE-9888-0FA1336476CD}" dt="2021-08-24T09:25:56.854" v="916" actId="47"/>
        <pc:sldMkLst>
          <pc:docMk/>
          <pc:sldMk cId="604074173" sldId="2145706913"/>
        </pc:sldMkLst>
        <pc:spChg chg="mod">
          <ac:chgData name="Hannah Hampson" userId="81509245-5bd3-4028-9ded-7c4521882c8e" providerId="ADAL" clId="{2C1A2B24-6027-4EEE-9888-0FA1336476CD}" dt="2021-08-24T07:37:56.872" v="67"/>
          <ac:spMkLst>
            <pc:docMk/>
            <pc:sldMk cId="604074173" sldId="2145706913"/>
            <ac:spMk id="2" creationId="{8838A633-3DCA-4CCB-9CDE-BE1A98E669E8}"/>
          </ac:spMkLst>
        </pc:spChg>
        <pc:spChg chg="mod">
          <ac:chgData name="Hannah Hampson" userId="81509245-5bd3-4028-9ded-7c4521882c8e" providerId="ADAL" clId="{2C1A2B24-6027-4EEE-9888-0FA1336476CD}" dt="2021-08-24T07:38:09.490" v="94" actId="13926"/>
          <ac:spMkLst>
            <pc:docMk/>
            <pc:sldMk cId="604074173" sldId="2145706913"/>
            <ac:spMk id="3" creationId="{CDC2E4E1-BB57-4950-AA6E-096589FC5B12}"/>
          </ac:spMkLst>
        </pc:spChg>
      </pc:sldChg>
      <pc:sldChg chg="modSp add mod ord">
        <pc:chgData name="Hannah Hampson" userId="81509245-5bd3-4028-9ded-7c4521882c8e" providerId="ADAL" clId="{2C1A2B24-6027-4EEE-9888-0FA1336476CD}" dt="2021-08-24T07:38:21.263" v="114" actId="20577"/>
        <pc:sldMkLst>
          <pc:docMk/>
          <pc:sldMk cId="419862082" sldId="2145706914"/>
        </pc:sldMkLst>
        <pc:spChg chg="mod">
          <ac:chgData name="Hannah Hampson" userId="81509245-5bd3-4028-9ded-7c4521882c8e" providerId="ADAL" clId="{2C1A2B24-6027-4EEE-9888-0FA1336476CD}" dt="2021-08-24T07:38:21.263" v="114" actId="20577"/>
          <ac:spMkLst>
            <pc:docMk/>
            <pc:sldMk cId="419862082" sldId="2145706914"/>
            <ac:spMk id="2" creationId="{F6FFA9A0-CFD0-4A65-945B-AED4297394F5}"/>
          </ac:spMkLst>
        </pc:spChg>
      </pc:sldChg>
      <pc:sldChg chg="modSp new mod">
        <pc:chgData name="Hannah Hampson" userId="81509245-5bd3-4028-9ded-7c4521882c8e" providerId="ADAL" clId="{2C1A2B24-6027-4EEE-9888-0FA1336476CD}" dt="2021-08-24T07:41:45.142" v="152" actId="13926"/>
        <pc:sldMkLst>
          <pc:docMk/>
          <pc:sldMk cId="3448746557" sldId="2145706915"/>
        </pc:sldMkLst>
        <pc:spChg chg="mod">
          <ac:chgData name="Hannah Hampson" userId="81509245-5bd3-4028-9ded-7c4521882c8e" providerId="ADAL" clId="{2C1A2B24-6027-4EEE-9888-0FA1336476CD}" dt="2021-08-24T07:41:45.142" v="152" actId="13926"/>
          <ac:spMkLst>
            <pc:docMk/>
            <pc:sldMk cId="3448746557" sldId="2145706915"/>
            <ac:spMk id="3" creationId="{33EACEA9-6069-45F6-A58D-E453420C9147}"/>
          </ac:spMkLst>
        </pc:spChg>
      </pc:sldChg>
      <pc:sldChg chg="modSp add mod">
        <pc:chgData name="Hannah Hampson" userId="81509245-5bd3-4028-9ded-7c4521882c8e" providerId="ADAL" clId="{2C1A2B24-6027-4EEE-9888-0FA1336476CD}" dt="2021-08-24T07:41:59.738" v="167" actId="20577"/>
        <pc:sldMkLst>
          <pc:docMk/>
          <pc:sldMk cId="546900343" sldId="2145706916"/>
        </pc:sldMkLst>
        <pc:spChg chg="mod">
          <ac:chgData name="Hannah Hampson" userId="81509245-5bd3-4028-9ded-7c4521882c8e" providerId="ADAL" clId="{2C1A2B24-6027-4EEE-9888-0FA1336476CD}" dt="2021-08-24T07:41:59.738" v="167" actId="20577"/>
          <ac:spMkLst>
            <pc:docMk/>
            <pc:sldMk cId="546900343" sldId="2145706916"/>
            <ac:spMk id="3" creationId="{33EACEA9-6069-45F6-A58D-E453420C9147}"/>
          </ac:spMkLst>
        </pc:spChg>
      </pc:sldChg>
      <pc:sldChg chg="addSp delSp modSp add mod">
        <pc:chgData name="Hannah Hampson" userId="81509245-5bd3-4028-9ded-7c4521882c8e" providerId="ADAL" clId="{2C1A2B24-6027-4EEE-9888-0FA1336476CD}" dt="2021-08-24T07:53:25.133" v="481" actId="478"/>
        <pc:sldMkLst>
          <pc:docMk/>
          <pc:sldMk cId="1027013226" sldId="2145706917"/>
        </pc:sldMkLst>
        <pc:spChg chg="mod">
          <ac:chgData name="Hannah Hampson" userId="81509245-5bd3-4028-9ded-7c4521882c8e" providerId="ADAL" clId="{2C1A2B24-6027-4EEE-9888-0FA1336476CD}" dt="2021-08-24T07:45:05.670" v="308" actId="6549"/>
          <ac:spMkLst>
            <pc:docMk/>
            <pc:sldMk cId="1027013226" sldId="2145706917"/>
            <ac:spMk id="2" creationId="{3C7BF3A1-27FA-424E-8626-245029F946E5}"/>
          </ac:spMkLst>
        </pc:spChg>
        <pc:spChg chg="del mod">
          <ac:chgData name="Hannah Hampson" userId="81509245-5bd3-4028-9ded-7c4521882c8e" providerId="ADAL" clId="{2C1A2B24-6027-4EEE-9888-0FA1336476CD}" dt="2021-08-24T07:53:23.055" v="480" actId="478"/>
          <ac:spMkLst>
            <pc:docMk/>
            <pc:sldMk cId="1027013226" sldId="2145706917"/>
            <ac:spMk id="3" creationId="{33EACEA9-6069-45F6-A58D-E453420C9147}"/>
          </ac:spMkLst>
        </pc:spChg>
        <pc:spChg chg="add del mod">
          <ac:chgData name="Hannah Hampson" userId="81509245-5bd3-4028-9ded-7c4521882c8e" providerId="ADAL" clId="{2C1A2B24-6027-4EEE-9888-0FA1336476CD}" dt="2021-08-24T07:53:25.133" v="481" actId="478"/>
          <ac:spMkLst>
            <pc:docMk/>
            <pc:sldMk cId="1027013226" sldId="2145706917"/>
            <ac:spMk id="7" creationId="{0AAC1993-A37C-4637-906C-86380C9C0015}"/>
          </ac:spMkLst>
        </pc:spChg>
        <pc:picChg chg="add mod">
          <ac:chgData name="Hannah Hampson" userId="81509245-5bd3-4028-9ded-7c4521882c8e" providerId="ADAL" clId="{2C1A2B24-6027-4EEE-9888-0FA1336476CD}" dt="2021-08-24T07:44:54.408" v="295" actId="14100"/>
          <ac:picMkLst>
            <pc:docMk/>
            <pc:sldMk cId="1027013226" sldId="2145706917"/>
            <ac:picMk id="5" creationId="{ABB75A70-5D5B-438F-B982-812FFAD52282}"/>
          </ac:picMkLst>
        </pc:picChg>
      </pc:sldChg>
      <pc:sldChg chg="modSp add mod">
        <pc:chgData name="Hannah Hampson" userId="81509245-5bd3-4028-9ded-7c4521882c8e" providerId="ADAL" clId="{2C1A2B24-6027-4EEE-9888-0FA1336476CD}" dt="2021-08-24T07:45:33.413" v="347" actId="20577"/>
        <pc:sldMkLst>
          <pc:docMk/>
          <pc:sldMk cId="2054006926" sldId="2145706918"/>
        </pc:sldMkLst>
        <pc:spChg chg="mod">
          <ac:chgData name="Hannah Hampson" userId="81509245-5bd3-4028-9ded-7c4521882c8e" providerId="ADAL" clId="{2C1A2B24-6027-4EEE-9888-0FA1336476CD}" dt="2021-08-24T07:45:33.413" v="347" actId="20577"/>
          <ac:spMkLst>
            <pc:docMk/>
            <pc:sldMk cId="2054006926" sldId="2145706918"/>
            <ac:spMk id="3" creationId="{33EACEA9-6069-45F6-A58D-E453420C9147}"/>
          </ac:spMkLst>
        </pc:spChg>
      </pc:sldChg>
      <pc:sldChg chg="modSp add mod ord">
        <pc:chgData name="Hannah Hampson" userId="81509245-5bd3-4028-9ded-7c4521882c8e" providerId="ADAL" clId="{2C1A2B24-6027-4EEE-9888-0FA1336476CD}" dt="2021-08-24T07:49:10.318" v="399" actId="14100"/>
        <pc:sldMkLst>
          <pc:docMk/>
          <pc:sldMk cId="2719839047" sldId="2145706919"/>
        </pc:sldMkLst>
        <pc:spChg chg="mod">
          <ac:chgData name="Hannah Hampson" userId="81509245-5bd3-4028-9ded-7c4521882c8e" providerId="ADAL" clId="{2C1A2B24-6027-4EEE-9888-0FA1336476CD}" dt="2021-08-24T07:49:10.318" v="399" actId="14100"/>
          <ac:spMkLst>
            <pc:docMk/>
            <pc:sldMk cId="2719839047" sldId="2145706919"/>
            <ac:spMk id="2" creationId="{F6FFA9A0-CFD0-4A65-945B-AED4297394F5}"/>
          </ac:spMkLst>
        </pc:spChg>
      </pc:sldChg>
      <pc:sldChg chg="modSp add mod ord">
        <pc:chgData name="Hannah Hampson" userId="81509245-5bd3-4028-9ded-7c4521882c8e" providerId="ADAL" clId="{2C1A2B24-6027-4EEE-9888-0FA1336476CD}" dt="2021-08-24T07:49:22.234" v="404" actId="20577"/>
        <pc:sldMkLst>
          <pc:docMk/>
          <pc:sldMk cId="988182385" sldId="2145706920"/>
        </pc:sldMkLst>
        <pc:spChg chg="mod">
          <ac:chgData name="Hannah Hampson" userId="81509245-5bd3-4028-9ded-7c4521882c8e" providerId="ADAL" clId="{2C1A2B24-6027-4EEE-9888-0FA1336476CD}" dt="2021-08-24T07:49:22.234" v="404" actId="20577"/>
          <ac:spMkLst>
            <pc:docMk/>
            <pc:sldMk cId="988182385" sldId="2145706920"/>
            <ac:spMk id="2" creationId="{F6FFA9A0-CFD0-4A65-945B-AED4297394F5}"/>
          </ac:spMkLst>
        </pc:spChg>
      </pc:sldChg>
      <pc:sldChg chg="addSp delSp modSp add mod">
        <pc:chgData name="Hannah Hampson" userId="81509245-5bd3-4028-9ded-7c4521882c8e" providerId="ADAL" clId="{2C1A2B24-6027-4EEE-9888-0FA1336476CD}" dt="2021-08-24T07:53:14.291" v="479" actId="478"/>
        <pc:sldMkLst>
          <pc:docMk/>
          <pc:sldMk cId="2554199065" sldId="2145706921"/>
        </pc:sldMkLst>
        <pc:spChg chg="mod">
          <ac:chgData name="Hannah Hampson" userId="81509245-5bd3-4028-9ded-7c4521882c8e" providerId="ADAL" clId="{2C1A2B24-6027-4EEE-9888-0FA1336476CD}" dt="2021-08-24T07:53:04.195" v="470" actId="20577"/>
          <ac:spMkLst>
            <pc:docMk/>
            <pc:sldMk cId="2554199065" sldId="2145706921"/>
            <ac:spMk id="2" creationId="{3C7BF3A1-27FA-424E-8626-245029F946E5}"/>
          </ac:spMkLst>
        </pc:spChg>
        <pc:spChg chg="del mod">
          <ac:chgData name="Hannah Hampson" userId="81509245-5bd3-4028-9ded-7c4521882c8e" providerId="ADAL" clId="{2C1A2B24-6027-4EEE-9888-0FA1336476CD}" dt="2021-08-24T07:53:12.979" v="478" actId="478"/>
          <ac:spMkLst>
            <pc:docMk/>
            <pc:sldMk cId="2554199065" sldId="2145706921"/>
            <ac:spMk id="3" creationId="{33EACEA9-6069-45F6-A58D-E453420C9147}"/>
          </ac:spMkLst>
        </pc:spChg>
        <pc:spChg chg="add del mod">
          <ac:chgData name="Hannah Hampson" userId="81509245-5bd3-4028-9ded-7c4521882c8e" providerId="ADAL" clId="{2C1A2B24-6027-4EEE-9888-0FA1336476CD}" dt="2021-08-24T07:53:14.291" v="479" actId="478"/>
          <ac:spMkLst>
            <pc:docMk/>
            <pc:sldMk cId="2554199065" sldId="2145706921"/>
            <ac:spMk id="6" creationId="{F8185DD3-5E4A-4CD0-ACBB-CFEDF97C9C53}"/>
          </ac:spMkLst>
        </pc:spChg>
      </pc:sldChg>
      <pc:sldChg chg="addSp delSp modSp new mod">
        <pc:chgData name="Hannah Hampson" userId="81509245-5bd3-4028-9ded-7c4521882c8e" providerId="ADAL" clId="{2C1A2B24-6027-4EEE-9888-0FA1336476CD}" dt="2021-08-24T07:59:58.999" v="671" actId="1076"/>
        <pc:sldMkLst>
          <pc:docMk/>
          <pc:sldMk cId="122700418" sldId="2145706922"/>
        </pc:sldMkLst>
        <pc:spChg chg="del">
          <ac:chgData name="Hannah Hampson" userId="81509245-5bd3-4028-9ded-7c4521882c8e" providerId="ADAL" clId="{2C1A2B24-6027-4EEE-9888-0FA1336476CD}" dt="2021-08-24T07:59:25.140" v="617" actId="478"/>
          <ac:spMkLst>
            <pc:docMk/>
            <pc:sldMk cId="122700418" sldId="2145706922"/>
            <ac:spMk id="2" creationId="{47898089-69DD-4E99-9E4A-8638F2A5433F}"/>
          </ac:spMkLst>
        </pc:spChg>
        <pc:spChg chg="mod">
          <ac:chgData name="Hannah Hampson" userId="81509245-5bd3-4028-9ded-7c4521882c8e" providerId="ADAL" clId="{2C1A2B24-6027-4EEE-9888-0FA1336476CD}" dt="2021-08-24T07:59:47.179" v="669" actId="20577"/>
          <ac:spMkLst>
            <pc:docMk/>
            <pc:sldMk cId="122700418" sldId="2145706922"/>
            <ac:spMk id="3" creationId="{FE4DA901-744B-4CA6-A098-5BC1466D4CB1}"/>
          </ac:spMkLst>
        </pc:spChg>
        <pc:graphicFrameChg chg="add mod modGraphic">
          <ac:chgData name="Hannah Hampson" userId="81509245-5bd3-4028-9ded-7c4521882c8e" providerId="ADAL" clId="{2C1A2B24-6027-4EEE-9888-0FA1336476CD}" dt="2021-08-24T07:59:58.999" v="671" actId="1076"/>
          <ac:graphicFrameMkLst>
            <pc:docMk/>
            <pc:sldMk cId="122700418" sldId="2145706922"/>
            <ac:graphicFrameMk id="4" creationId="{648D1A92-5952-4372-9762-6190D5C6DE79}"/>
          </ac:graphicFrameMkLst>
        </pc:graphicFrameChg>
      </pc:sldChg>
      <pc:sldChg chg="modSp add del mod">
        <pc:chgData name="Hannah Hampson" userId="81509245-5bd3-4028-9ded-7c4521882c8e" providerId="ADAL" clId="{2C1A2B24-6027-4EEE-9888-0FA1336476CD}" dt="2021-08-24T07:57:58.716" v="614" actId="47"/>
        <pc:sldMkLst>
          <pc:docMk/>
          <pc:sldMk cId="2011431837" sldId="2145706922"/>
        </pc:sldMkLst>
        <pc:spChg chg="mod">
          <ac:chgData name="Hannah Hampson" userId="81509245-5bd3-4028-9ded-7c4521882c8e" providerId="ADAL" clId="{2C1A2B24-6027-4EEE-9888-0FA1336476CD}" dt="2021-08-24T07:57:56.330" v="613" actId="6549"/>
          <ac:spMkLst>
            <pc:docMk/>
            <pc:sldMk cId="2011431837" sldId="2145706922"/>
            <ac:spMk id="2" creationId="{F76174D8-0CC1-4477-B429-EF8382D3B9CC}"/>
          </ac:spMkLst>
        </pc:spChg>
        <pc:spChg chg="mod">
          <ac:chgData name="Hannah Hampson" userId="81509245-5bd3-4028-9ded-7c4521882c8e" providerId="ADAL" clId="{2C1A2B24-6027-4EEE-9888-0FA1336476CD}" dt="2021-08-24T07:57:15.111" v="612" actId="20577"/>
          <ac:spMkLst>
            <pc:docMk/>
            <pc:sldMk cId="2011431837" sldId="2145706922"/>
            <ac:spMk id="3" creationId="{448024DD-7563-4098-82AF-73B4B9A0F8C5}"/>
          </ac:spMkLst>
        </pc:spChg>
      </pc:sldChg>
      <pc:sldChg chg="modSp new mod ord">
        <pc:chgData name="Hannah Hampson" userId="81509245-5bd3-4028-9ded-7c4521882c8e" providerId="ADAL" clId="{2C1A2B24-6027-4EEE-9888-0FA1336476CD}" dt="2021-08-24T08:04:26.197" v="842"/>
        <pc:sldMkLst>
          <pc:docMk/>
          <pc:sldMk cId="1301800987" sldId="2145706923"/>
        </pc:sldMkLst>
        <pc:spChg chg="mod">
          <ac:chgData name="Hannah Hampson" userId="81509245-5bd3-4028-9ded-7c4521882c8e" providerId="ADAL" clId="{2C1A2B24-6027-4EEE-9888-0FA1336476CD}" dt="2021-08-24T08:02:18.423" v="730" actId="403"/>
          <ac:spMkLst>
            <pc:docMk/>
            <pc:sldMk cId="1301800987" sldId="2145706923"/>
            <ac:spMk id="2" creationId="{1B3A890F-6C14-4083-810C-00EC8F569CE1}"/>
          </ac:spMkLst>
        </pc:spChg>
        <pc:spChg chg="mod">
          <ac:chgData name="Hannah Hampson" userId="81509245-5bd3-4028-9ded-7c4521882c8e" providerId="ADAL" clId="{2C1A2B24-6027-4EEE-9888-0FA1336476CD}" dt="2021-08-24T08:02:11.945" v="727" actId="20577"/>
          <ac:spMkLst>
            <pc:docMk/>
            <pc:sldMk cId="1301800987" sldId="2145706923"/>
            <ac:spMk id="3" creationId="{F4ED416E-3DB4-41B8-A4CC-26F8F0CFED4E}"/>
          </ac:spMkLst>
        </pc:spChg>
      </pc:sldChg>
      <pc:sldChg chg="addSp delSp modSp new mod setBg">
        <pc:chgData name="Hannah Hampson" userId="81509245-5bd3-4028-9ded-7c4521882c8e" providerId="ADAL" clId="{2C1A2B24-6027-4EEE-9888-0FA1336476CD}" dt="2021-08-24T09:23:36.240" v="886" actId="404"/>
        <pc:sldMkLst>
          <pc:docMk/>
          <pc:sldMk cId="1588617075" sldId="2145706924"/>
        </pc:sldMkLst>
        <pc:spChg chg="mod">
          <ac:chgData name="Hannah Hampson" userId="81509245-5bd3-4028-9ded-7c4521882c8e" providerId="ADAL" clId="{2C1A2B24-6027-4EEE-9888-0FA1336476CD}" dt="2021-08-24T09:23:36.240" v="886" actId="404"/>
          <ac:spMkLst>
            <pc:docMk/>
            <pc:sldMk cId="1588617075" sldId="2145706924"/>
            <ac:spMk id="2" creationId="{2CDA7457-805B-4976-B8AD-602FAF1BDCBC}"/>
          </ac:spMkLst>
        </pc:spChg>
        <pc:spChg chg="del">
          <ac:chgData name="Hannah Hampson" userId="81509245-5bd3-4028-9ded-7c4521882c8e" providerId="ADAL" clId="{2C1A2B24-6027-4EEE-9888-0FA1336476CD}" dt="2021-08-24T09:21:49.593" v="858" actId="478"/>
          <ac:spMkLst>
            <pc:docMk/>
            <pc:sldMk cId="1588617075" sldId="2145706924"/>
            <ac:spMk id="3" creationId="{9D092D48-7BFC-4596-BAA7-0DF6F09EB2B8}"/>
          </ac:spMkLst>
        </pc:spChg>
        <pc:spChg chg="add del">
          <ac:chgData name="Hannah Hampson" userId="81509245-5bd3-4028-9ded-7c4521882c8e" providerId="ADAL" clId="{2C1A2B24-6027-4EEE-9888-0FA1336476CD}" dt="2021-08-24T09:22:41.220" v="868" actId="26606"/>
          <ac:spMkLst>
            <pc:docMk/>
            <pc:sldMk cId="1588617075" sldId="2145706924"/>
            <ac:spMk id="9" creationId="{A8384FB5-9ADC-4DDC-881B-597D56F5B15D}"/>
          </ac:spMkLst>
        </pc:spChg>
        <pc:spChg chg="add del">
          <ac:chgData name="Hannah Hampson" userId="81509245-5bd3-4028-9ded-7c4521882c8e" providerId="ADAL" clId="{2C1A2B24-6027-4EEE-9888-0FA1336476CD}" dt="2021-08-24T09:22:41.220" v="868" actId="26606"/>
          <ac:spMkLst>
            <pc:docMk/>
            <pc:sldMk cId="1588617075" sldId="2145706924"/>
            <ac:spMk id="11" creationId="{1199E1B1-A8C0-4FE8-A5A8-1CB41D69F857}"/>
          </ac:spMkLst>
        </pc:spChg>
        <pc:spChg chg="add del">
          <ac:chgData name="Hannah Hampson" userId="81509245-5bd3-4028-9ded-7c4521882c8e" providerId="ADAL" clId="{2C1A2B24-6027-4EEE-9888-0FA1336476CD}" dt="2021-08-24T09:22:41.220" v="868" actId="26606"/>
          <ac:spMkLst>
            <pc:docMk/>
            <pc:sldMk cId="1588617075" sldId="2145706924"/>
            <ac:spMk id="13" creationId="{84A8DE83-DE75-4B41-9DB4-A7EC0B0DEC0B}"/>
          </ac:spMkLst>
        </pc:spChg>
        <pc:spChg chg="add del">
          <ac:chgData name="Hannah Hampson" userId="81509245-5bd3-4028-9ded-7c4521882c8e" providerId="ADAL" clId="{2C1A2B24-6027-4EEE-9888-0FA1336476CD}" dt="2021-08-24T09:22:41.220" v="868" actId="26606"/>
          <ac:spMkLst>
            <pc:docMk/>
            <pc:sldMk cId="1588617075" sldId="2145706924"/>
            <ac:spMk id="15" creationId="{A7009A0A-BEF5-4EAC-AF15-E4F9F002E239}"/>
          </ac:spMkLst>
        </pc:spChg>
        <pc:graphicFrameChg chg="add del mod modGraphic">
          <ac:chgData name="Hannah Hampson" userId="81509245-5bd3-4028-9ded-7c4521882c8e" providerId="ADAL" clId="{2C1A2B24-6027-4EEE-9888-0FA1336476CD}" dt="2021-08-24T09:23:22.781" v="884" actId="2165"/>
          <ac:graphicFrameMkLst>
            <pc:docMk/>
            <pc:sldMk cId="1588617075" sldId="2145706924"/>
            <ac:graphicFrameMk id="4" creationId="{10997489-A714-4675-9EF6-4D3A3FCC91D3}"/>
          </ac:graphicFrameMkLst>
        </pc:graphicFrameChg>
      </pc:sldChg>
      <pc:sldChg chg="addSp delSp modSp new mod setBg">
        <pc:chgData name="Hannah Hampson" userId="81509245-5bd3-4028-9ded-7c4521882c8e" providerId="ADAL" clId="{2C1A2B24-6027-4EEE-9888-0FA1336476CD}" dt="2021-08-24T09:25:54.222" v="915" actId="1076"/>
        <pc:sldMkLst>
          <pc:docMk/>
          <pc:sldMk cId="3936393654" sldId="2145706925"/>
        </pc:sldMkLst>
        <pc:spChg chg="add del">
          <ac:chgData name="Hannah Hampson" userId="81509245-5bd3-4028-9ded-7c4521882c8e" providerId="ADAL" clId="{2C1A2B24-6027-4EEE-9888-0FA1336476CD}" dt="2021-08-24T09:25:01.662" v="906" actId="478"/>
          <ac:spMkLst>
            <pc:docMk/>
            <pc:sldMk cId="3936393654" sldId="2145706925"/>
            <ac:spMk id="2" creationId="{C237BE49-F2FA-4630-92D4-16FC07AE04B5}"/>
          </ac:spMkLst>
        </pc:spChg>
        <pc:spChg chg="add del">
          <ac:chgData name="Hannah Hampson" userId="81509245-5bd3-4028-9ded-7c4521882c8e" providerId="ADAL" clId="{2C1A2B24-6027-4EEE-9888-0FA1336476CD}" dt="2021-08-24T09:24:59.850" v="905" actId="478"/>
          <ac:spMkLst>
            <pc:docMk/>
            <pc:sldMk cId="3936393654" sldId="2145706925"/>
            <ac:spMk id="3" creationId="{C2A5F0F2-A03E-414F-A996-1337FA58B035}"/>
          </ac:spMkLst>
        </pc:spChg>
        <pc:spChg chg="add del">
          <ac:chgData name="Hannah Hampson" userId="81509245-5bd3-4028-9ded-7c4521882c8e" providerId="ADAL" clId="{2C1A2B24-6027-4EEE-9888-0FA1336476CD}" dt="2021-08-24T09:24:51.556" v="902" actId="26606"/>
          <ac:spMkLst>
            <pc:docMk/>
            <pc:sldMk cId="3936393654" sldId="2145706925"/>
            <ac:spMk id="9" creationId="{F3060C83-F051-4F0E-ABAD-AA0DFC48B218}"/>
          </ac:spMkLst>
        </pc:spChg>
        <pc:spChg chg="add del">
          <ac:chgData name="Hannah Hampson" userId="81509245-5bd3-4028-9ded-7c4521882c8e" providerId="ADAL" clId="{2C1A2B24-6027-4EEE-9888-0FA1336476CD}" dt="2021-08-24T09:24:51.556" v="902" actId="26606"/>
          <ac:spMkLst>
            <pc:docMk/>
            <pc:sldMk cId="3936393654" sldId="2145706925"/>
            <ac:spMk id="11" creationId="{83C98ABE-055B-441F-B07E-44F97F083C39}"/>
          </ac:spMkLst>
        </pc:spChg>
        <pc:spChg chg="add mod">
          <ac:chgData name="Hannah Hampson" userId="81509245-5bd3-4028-9ded-7c4521882c8e" providerId="ADAL" clId="{2C1A2B24-6027-4EEE-9888-0FA1336476CD}" dt="2021-08-24T09:24:57.270" v="904" actId="27636"/>
          <ac:spMkLst>
            <pc:docMk/>
            <pc:sldMk cId="3936393654" sldId="2145706925"/>
            <ac:spMk id="12" creationId="{EE28DC3E-D69B-4294-B4AF-416316D2EA0A}"/>
          </ac:spMkLst>
        </pc:spChg>
        <pc:spChg chg="add del">
          <ac:chgData name="Hannah Hampson" userId="81509245-5bd3-4028-9ded-7c4521882c8e" providerId="ADAL" clId="{2C1A2B24-6027-4EEE-9888-0FA1336476CD}" dt="2021-08-24T09:24:51.556" v="902" actId="26606"/>
          <ac:spMkLst>
            <pc:docMk/>
            <pc:sldMk cId="3936393654" sldId="2145706925"/>
            <ac:spMk id="13" creationId="{29FDB030-9B49-4CED-8CCD-4D99382388AC}"/>
          </ac:spMkLst>
        </pc:spChg>
        <pc:spChg chg="add del">
          <ac:chgData name="Hannah Hampson" userId="81509245-5bd3-4028-9ded-7c4521882c8e" providerId="ADAL" clId="{2C1A2B24-6027-4EEE-9888-0FA1336476CD}" dt="2021-08-24T09:24:51.556" v="902" actId="26606"/>
          <ac:spMkLst>
            <pc:docMk/>
            <pc:sldMk cId="3936393654" sldId="2145706925"/>
            <ac:spMk id="15" creationId="{3783CA14-24A1-485C-8B30-D6A5D87987AD}"/>
          </ac:spMkLst>
        </pc:spChg>
        <pc:spChg chg="add del">
          <ac:chgData name="Hannah Hampson" userId="81509245-5bd3-4028-9ded-7c4521882c8e" providerId="ADAL" clId="{2C1A2B24-6027-4EEE-9888-0FA1336476CD}" dt="2021-08-24T09:24:51.556" v="902" actId="26606"/>
          <ac:spMkLst>
            <pc:docMk/>
            <pc:sldMk cId="3936393654" sldId="2145706925"/>
            <ac:spMk id="17" creationId="{9A97C86A-04D6-40F7-AE84-31AB43E6A846}"/>
          </ac:spMkLst>
        </pc:spChg>
        <pc:spChg chg="add del">
          <ac:chgData name="Hannah Hampson" userId="81509245-5bd3-4028-9ded-7c4521882c8e" providerId="ADAL" clId="{2C1A2B24-6027-4EEE-9888-0FA1336476CD}" dt="2021-08-24T09:24:51.556" v="902" actId="26606"/>
          <ac:spMkLst>
            <pc:docMk/>
            <pc:sldMk cId="3936393654" sldId="2145706925"/>
            <ac:spMk id="19" creationId="{FF9F2414-84E8-453E-B1F3-389FDE8192D9}"/>
          </ac:spMkLst>
        </pc:spChg>
        <pc:spChg chg="add del">
          <ac:chgData name="Hannah Hampson" userId="81509245-5bd3-4028-9ded-7c4521882c8e" providerId="ADAL" clId="{2C1A2B24-6027-4EEE-9888-0FA1336476CD}" dt="2021-08-24T09:24:51.556" v="902" actId="26606"/>
          <ac:spMkLst>
            <pc:docMk/>
            <pc:sldMk cId="3936393654" sldId="2145706925"/>
            <ac:spMk id="21" creationId="{3ECA69A1-7536-43AC-85EF-C7106179F5ED}"/>
          </ac:spMkLst>
        </pc:spChg>
        <pc:picChg chg="add del mod">
          <ac:chgData name="Hannah Hampson" userId="81509245-5bd3-4028-9ded-7c4521882c8e" providerId="ADAL" clId="{2C1A2B24-6027-4EEE-9888-0FA1336476CD}" dt="2021-08-24T09:25:42.869" v="910" actId="478"/>
          <ac:picMkLst>
            <pc:docMk/>
            <pc:sldMk cId="3936393654" sldId="2145706925"/>
            <ac:picMk id="4" creationId="{131616C3-13C5-4521-AD43-7C6F9F378FA9}"/>
          </ac:picMkLst>
        </pc:picChg>
        <pc:picChg chg="add mod">
          <ac:chgData name="Hannah Hampson" userId="81509245-5bd3-4028-9ded-7c4521882c8e" providerId="ADAL" clId="{2C1A2B24-6027-4EEE-9888-0FA1336476CD}" dt="2021-08-24T09:25:54.222" v="915" actId="1076"/>
          <ac:picMkLst>
            <pc:docMk/>
            <pc:sldMk cId="3936393654" sldId="2145706925"/>
            <ac:picMk id="5" creationId="{5F88619E-61FC-4605-9E4E-F75CA05955DA}"/>
          </ac:picMkLst>
        </pc:picChg>
      </pc:sldChg>
      <pc:sldChg chg="addSp delSp modSp new mod">
        <pc:chgData name="Hannah Hampson" userId="81509245-5bd3-4028-9ded-7c4521882c8e" providerId="ADAL" clId="{2C1A2B24-6027-4EEE-9888-0FA1336476CD}" dt="2021-08-24T09:27:59.916" v="938" actId="403"/>
        <pc:sldMkLst>
          <pc:docMk/>
          <pc:sldMk cId="2985779078" sldId="2145706926"/>
        </pc:sldMkLst>
        <pc:spChg chg="mod">
          <ac:chgData name="Hannah Hampson" userId="81509245-5bd3-4028-9ded-7c4521882c8e" providerId="ADAL" clId="{2C1A2B24-6027-4EEE-9888-0FA1336476CD}" dt="2021-08-24T09:27:59.916" v="938" actId="403"/>
          <ac:spMkLst>
            <pc:docMk/>
            <pc:sldMk cId="2985779078" sldId="2145706926"/>
            <ac:spMk id="2" creationId="{874F70FF-535D-4803-A5A9-50E926E25E6B}"/>
          </ac:spMkLst>
        </pc:spChg>
        <pc:spChg chg="del">
          <ac:chgData name="Hannah Hampson" userId="81509245-5bd3-4028-9ded-7c4521882c8e" providerId="ADAL" clId="{2C1A2B24-6027-4EEE-9888-0FA1336476CD}" dt="2021-08-24T09:27:51.490" v="933" actId="478"/>
          <ac:spMkLst>
            <pc:docMk/>
            <pc:sldMk cId="2985779078" sldId="2145706926"/>
            <ac:spMk id="3" creationId="{061642A6-87FF-4B46-B7FD-D622FB57F32B}"/>
          </ac:spMkLst>
        </pc:spChg>
        <pc:spChg chg="add mod">
          <ac:chgData name="Hannah Hampson" userId="81509245-5bd3-4028-9ded-7c4521882c8e" providerId="ADAL" clId="{2C1A2B24-6027-4EEE-9888-0FA1336476CD}" dt="2021-08-24T09:27:51.965" v="934"/>
          <ac:spMkLst>
            <pc:docMk/>
            <pc:sldMk cId="2985779078" sldId="2145706926"/>
            <ac:spMk id="4" creationId="{2D1B621E-F924-481D-8F79-11CB07A5EBA1}"/>
          </ac:spMkLst>
        </pc:spChg>
      </pc:sldChg>
      <pc:sldChg chg="addSp delSp modSp new mod ord">
        <pc:chgData name="Hannah Hampson" userId="81509245-5bd3-4028-9ded-7c4521882c8e" providerId="ADAL" clId="{2C1A2B24-6027-4EEE-9888-0FA1336476CD}" dt="2021-08-24T09:28:16.512" v="941" actId="948"/>
        <pc:sldMkLst>
          <pc:docMk/>
          <pc:sldMk cId="3299820206" sldId="2145706927"/>
        </pc:sldMkLst>
        <pc:spChg chg="mod">
          <ac:chgData name="Hannah Hampson" userId="81509245-5bd3-4028-9ded-7c4521882c8e" providerId="ADAL" clId="{2C1A2B24-6027-4EEE-9888-0FA1336476CD}" dt="2021-08-24T09:28:16.512" v="941" actId="948"/>
          <ac:spMkLst>
            <pc:docMk/>
            <pc:sldMk cId="3299820206" sldId="2145706927"/>
            <ac:spMk id="2" creationId="{64DEBDE8-D162-47A3-B039-294A10160662}"/>
          </ac:spMkLst>
        </pc:spChg>
        <pc:spChg chg="mod">
          <ac:chgData name="Hannah Hampson" userId="81509245-5bd3-4028-9ded-7c4521882c8e" providerId="ADAL" clId="{2C1A2B24-6027-4EEE-9888-0FA1336476CD}" dt="2021-08-24T09:26:45.256" v="922"/>
          <ac:spMkLst>
            <pc:docMk/>
            <pc:sldMk cId="3299820206" sldId="2145706927"/>
            <ac:spMk id="3" creationId="{E5D6E56D-71C5-48F2-B1E3-2D3B04C46BD2}"/>
          </ac:spMkLst>
        </pc:spChg>
        <pc:spChg chg="add del mod">
          <ac:chgData name="Hannah Hampson" userId="81509245-5bd3-4028-9ded-7c4521882c8e" providerId="ADAL" clId="{2C1A2B24-6027-4EEE-9888-0FA1336476CD}" dt="2021-08-24T09:26:36.358" v="920" actId="478"/>
          <ac:spMkLst>
            <pc:docMk/>
            <pc:sldMk cId="3299820206" sldId="2145706927"/>
            <ac:spMk id="4" creationId="{16E73285-E8ED-4FD7-B4CB-589B820BCB4F}"/>
          </ac:spMkLst>
        </pc:spChg>
      </pc:sldChg>
      <pc:sldMasterChg chg="delSldLayout">
        <pc:chgData name="Hannah Hampson" userId="81509245-5bd3-4028-9ded-7c4521882c8e" providerId="ADAL" clId="{2C1A2B24-6027-4EEE-9888-0FA1336476CD}" dt="2021-08-24T08:05:07.661" v="849" actId="47"/>
        <pc:sldMasterMkLst>
          <pc:docMk/>
          <pc:sldMasterMk cId="4059077977" sldId="2147483681"/>
        </pc:sldMasterMkLst>
        <pc:sldLayoutChg chg="del">
          <pc:chgData name="Hannah Hampson" userId="81509245-5bd3-4028-9ded-7c4521882c8e" providerId="ADAL" clId="{2C1A2B24-6027-4EEE-9888-0FA1336476CD}" dt="2021-08-24T08:05:07.661" v="849" actId="47"/>
          <pc:sldLayoutMkLst>
            <pc:docMk/>
            <pc:sldMasterMk cId="4059077977" sldId="2147483681"/>
            <pc:sldLayoutMk cId="1503178084" sldId="2147483685"/>
          </pc:sldLayoutMkLst>
        </pc:sldLayoutChg>
      </pc:sldMasterChg>
    </pc:docChg>
  </pc:docChgLst>
  <pc:docChgLst>
    <pc:chgData name="Hannah Hampson" userId="81509245-5bd3-4028-9ded-7c4521882c8e" providerId="ADAL" clId="{796308D1-C2BC-4E92-89CB-5BBEA4E2BBA1}"/>
    <pc:docChg chg="undo custSel addSld delSld modSld sldOrd modMainMaster">
      <pc:chgData name="Hannah Hampson" userId="81509245-5bd3-4028-9ded-7c4521882c8e" providerId="ADAL" clId="{796308D1-C2BC-4E92-89CB-5BBEA4E2BBA1}" dt="2021-08-26T09:55:17.838" v="273" actId="47"/>
      <pc:docMkLst>
        <pc:docMk/>
      </pc:docMkLst>
      <pc:sldChg chg="modSp mod">
        <pc:chgData name="Hannah Hampson" userId="81509245-5bd3-4028-9ded-7c4521882c8e" providerId="ADAL" clId="{796308D1-C2BC-4E92-89CB-5BBEA4E2BBA1}" dt="2021-08-26T07:41:30.674" v="99" actId="20577"/>
        <pc:sldMkLst>
          <pc:docMk/>
          <pc:sldMk cId="3101338334" sldId="308"/>
        </pc:sldMkLst>
        <pc:spChg chg="mod">
          <ac:chgData name="Hannah Hampson" userId="81509245-5bd3-4028-9ded-7c4521882c8e" providerId="ADAL" clId="{796308D1-C2BC-4E92-89CB-5BBEA4E2BBA1}" dt="2021-08-26T07:41:30.674" v="99" actId="20577"/>
          <ac:spMkLst>
            <pc:docMk/>
            <pc:sldMk cId="3101338334" sldId="308"/>
            <ac:spMk id="8" creationId="{529CF2BA-F685-4541-BF72-F6848A80DDA5}"/>
          </ac:spMkLst>
        </pc:spChg>
      </pc:sldChg>
      <pc:sldChg chg="modSp mod">
        <pc:chgData name="Hannah Hampson" userId="81509245-5bd3-4028-9ded-7c4521882c8e" providerId="ADAL" clId="{796308D1-C2BC-4E92-89CB-5BBEA4E2BBA1}" dt="2021-08-26T08:01:01.042" v="272" actId="14100"/>
        <pc:sldMkLst>
          <pc:docMk/>
          <pc:sldMk cId="338989854" sldId="4327"/>
        </pc:sldMkLst>
        <pc:spChg chg="mod">
          <ac:chgData name="Hannah Hampson" userId="81509245-5bd3-4028-9ded-7c4521882c8e" providerId="ADAL" clId="{796308D1-C2BC-4E92-89CB-5BBEA4E2BBA1}" dt="2021-08-26T08:01:01.042" v="272" actId="14100"/>
          <ac:spMkLst>
            <pc:docMk/>
            <pc:sldMk cId="338989854" sldId="4327"/>
            <ac:spMk id="2" creationId="{F6FFA9A0-CFD0-4A65-945B-AED4297394F5}"/>
          </ac:spMkLst>
        </pc:spChg>
        <pc:spChg chg="mod">
          <ac:chgData name="Hannah Hampson" userId="81509245-5bd3-4028-9ded-7c4521882c8e" providerId="ADAL" clId="{796308D1-C2BC-4E92-89CB-5BBEA4E2BBA1}" dt="2021-08-26T08:00:42.990" v="267" actId="12"/>
          <ac:spMkLst>
            <pc:docMk/>
            <pc:sldMk cId="338989854" sldId="4327"/>
            <ac:spMk id="3" creationId="{13400542-72F7-4596-BF0B-8F98895838DA}"/>
          </ac:spMkLst>
        </pc:spChg>
        <pc:spChg chg="mod">
          <ac:chgData name="Hannah Hampson" userId="81509245-5bd3-4028-9ded-7c4521882c8e" providerId="ADAL" clId="{796308D1-C2BC-4E92-89CB-5BBEA4E2BBA1}" dt="2021-08-26T07:59:52.299" v="234" actId="1076"/>
          <ac:spMkLst>
            <pc:docMk/>
            <pc:sldMk cId="338989854" sldId="4327"/>
            <ac:spMk id="6" creationId="{77AF2EA8-4B6E-9141-9A21-57AF27015B2D}"/>
          </ac:spMkLst>
        </pc:spChg>
        <pc:cxnChg chg="mod">
          <ac:chgData name="Hannah Hampson" userId="81509245-5bd3-4028-9ded-7c4521882c8e" providerId="ADAL" clId="{796308D1-C2BC-4E92-89CB-5BBEA4E2BBA1}" dt="2021-08-26T07:59:49.358" v="233" actId="1076"/>
          <ac:cxnSpMkLst>
            <pc:docMk/>
            <pc:sldMk cId="338989854" sldId="4327"/>
            <ac:cxnSpMk id="5" creationId="{6E291037-4FDE-3D41-AD8F-8A26A4584DE6}"/>
          </ac:cxnSpMkLst>
        </pc:cxnChg>
      </pc:sldChg>
      <pc:sldChg chg="modSp mod">
        <pc:chgData name="Hannah Hampson" userId="81509245-5bd3-4028-9ded-7c4521882c8e" providerId="ADAL" clId="{796308D1-C2BC-4E92-89CB-5BBEA4E2BBA1}" dt="2021-08-26T07:58:36.615" v="143" actId="20577"/>
        <pc:sldMkLst>
          <pc:docMk/>
          <pc:sldMk cId="1091011188" sldId="2145706881"/>
        </pc:sldMkLst>
        <pc:spChg chg="mod">
          <ac:chgData name="Hannah Hampson" userId="81509245-5bd3-4028-9ded-7c4521882c8e" providerId="ADAL" clId="{796308D1-C2BC-4E92-89CB-5BBEA4E2BBA1}" dt="2021-08-26T07:42:30.725" v="108" actId="14100"/>
          <ac:spMkLst>
            <pc:docMk/>
            <pc:sldMk cId="1091011188" sldId="2145706881"/>
            <ac:spMk id="2" creationId="{F76174D8-0CC1-4477-B429-EF8382D3B9CC}"/>
          </ac:spMkLst>
        </pc:spChg>
        <pc:spChg chg="mod">
          <ac:chgData name="Hannah Hampson" userId="81509245-5bd3-4028-9ded-7c4521882c8e" providerId="ADAL" clId="{796308D1-C2BC-4E92-89CB-5BBEA4E2BBA1}" dt="2021-08-26T07:58:36.615" v="143" actId="20577"/>
          <ac:spMkLst>
            <pc:docMk/>
            <pc:sldMk cId="1091011188" sldId="2145706881"/>
            <ac:spMk id="3" creationId="{448024DD-7563-4098-82AF-73B4B9A0F8C5}"/>
          </ac:spMkLst>
        </pc:spChg>
      </pc:sldChg>
      <pc:sldChg chg="modSp mod">
        <pc:chgData name="Hannah Hampson" userId="81509245-5bd3-4028-9ded-7c4521882c8e" providerId="ADAL" clId="{796308D1-C2BC-4E92-89CB-5BBEA4E2BBA1}" dt="2021-08-26T07:39:15.287" v="89"/>
        <pc:sldMkLst>
          <pc:docMk/>
          <pc:sldMk cId="622130226" sldId="2145706907"/>
        </pc:sldMkLst>
        <pc:spChg chg="mod">
          <ac:chgData name="Hannah Hampson" userId="81509245-5bd3-4028-9ded-7c4521882c8e" providerId="ADAL" clId="{796308D1-C2BC-4E92-89CB-5BBEA4E2BBA1}" dt="2021-08-26T07:39:15.287" v="89"/>
          <ac:spMkLst>
            <pc:docMk/>
            <pc:sldMk cId="622130226" sldId="2145706907"/>
            <ac:spMk id="2" creationId="{F6FFA9A0-CFD0-4A65-945B-AED4297394F5}"/>
          </ac:spMkLst>
        </pc:spChg>
      </pc:sldChg>
      <pc:sldChg chg="modSp del">
        <pc:chgData name="Hannah Hampson" userId="81509245-5bd3-4028-9ded-7c4521882c8e" providerId="ADAL" clId="{796308D1-C2BC-4E92-89CB-5BBEA4E2BBA1}" dt="2021-08-26T09:55:17.838" v="273" actId="47"/>
        <pc:sldMkLst>
          <pc:docMk/>
          <pc:sldMk cId="3448746557" sldId="2145706915"/>
        </pc:sldMkLst>
        <pc:spChg chg="mod">
          <ac:chgData name="Hannah Hampson" userId="81509245-5bd3-4028-9ded-7c4521882c8e" providerId="ADAL" clId="{796308D1-C2BC-4E92-89CB-5BBEA4E2BBA1}" dt="2021-08-26T07:39:15.287" v="89"/>
          <ac:spMkLst>
            <pc:docMk/>
            <pc:sldMk cId="3448746557" sldId="2145706915"/>
            <ac:spMk id="2" creationId="{3C7BF3A1-27FA-424E-8626-245029F946E5}"/>
          </ac:spMkLst>
        </pc:spChg>
        <pc:spChg chg="mod">
          <ac:chgData name="Hannah Hampson" userId="81509245-5bd3-4028-9ded-7c4521882c8e" providerId="ADAL" clId="{796308D1-C2BC-4E92-89CB-5BBEA4E2BBA1}" dt="2021-08-26T07:39:15.287" v="89"/>
          <ac:spMkLst>
            <pc:docMk/>
            <pc:sldMk cId="3448746557" sldId="2145706915"/>
            <ac:spMk id="3" creationId="{33EACEA9-6069-45F6-A58D-E453420C9147}"/>
          </ac:spMkLst>
        </pc:spChg>
      </pc:sldChg>
      <pc:sldChg chg="modSp">
        <pc:chgData name="Hannah Hampson" userId="81509245-5bd3-4028-9ded-7c4521882c8e" providerId="ADAL" clId="{796308D1-C2BC-4E92-89CB-5BBEA4E2BBA1}" dt="2021-08-26T07:39:15.287" v="89"/>
        <pc:sldMkLst>
          <pc:docMk/>
          <pc:sldMk cId="546900343" sldId="2145706916"/>
        </pc:sldMkLst>
        <pc:spChg chg="mod">
          <ac:chgData name="Hannah Hampson" userId="81509245-5bd3-4028-9ded-7c4521882c8e" providerId="ADAL" clId="{796308D1-C2BC-4E92-89CB-5BBEA4E2BBA1}" dt="2021-08-26T07:39:15.287" v="89"/>
          <ac:spMkLst>
            <pc:docMk/>
            <pc:sldMk cId="546900343" sldId="2145706916"/>
            <ac:spMk id="3" creationId="{33EACEA9-6069-45F6-A58D-E453420C9147}"/>
          </ac:spMkLst>
        </pc:spChg>
      </pc:sldChg>
      <pc:sldChg chg="addSp delSp modSp del mod">
        <pc:chgData name="Hannah Hampson" userId="81509245-5bd3-4028-9ded-7c4521882c8e" providerId="ADAL" clId="{796308D1-C2BC-4E92-89CB-5BBEA4E2BBA1}" dt="2021-08-26T07:40:01.431" v="90" actId="47"/>
        <pc:sldMkLst>
          <pc:docMk/>
          <pc:sldMk cId="1027013226" sldId="2145706917"/>
        </pc:sldMkLst>
        <pc:spChg chg="mod">
          <ac:chgData name="Hannah Hampson" userId="81509245-5bd3-4028-9ded-7c4521882c8e" providerId="ADAL" clId="{796308D1-C2BC-4E92-89CB-5BBEA4E2BBA1}" dt="2021-08-26T07:38:10.713" v="78" actId="1076"/>
          <ac:spMkLst>
            <pc:docMk/>
            <pc:sldMk cId="1027013226" sldId="2145706917"/>
            <ac:spMk id="2" creationId="{3C7BF3A1-27FA-424E-8626-245029F946E5}"/>
          </ac:spMkLst>
        </pc:spChg>
        <pc:spChg chg="add del mod">
          <ac:chgData name="Hannah Hampson" userId="81509245-5bd3-4028-9ded-7c4521882c8e" providerId="ADAL" clId="{796308D1-C2BC-4E92-89CB-5BBEA4E2BBA1}" dt="2021-08-26T07:38:02.526" v="70" actId="478"/>
          <ac:spMkLst>
            <pc:docMk/>
            <pc:sldMk cId="1027013226" sldId="2145706917"/>
            <ac:spMk id="3" creationId="{F17D4025-998A-4447-AFE7-3552F6C8996B}"/>
          </ac:spMkLst>
        </pc:spChg>
        <pc:spChg chg="del">
          <ac:chgData name="Hannah Hampson" userId="81509245-5bd3-4028-9ded-7c4521882c8e" providerId="ADAL" clId="{796308D1-C2BC-4E92-89CB-5BBEA4E2BBA1}" dt="2021-08-26T07:35:06.888" v="4" actId="478"/>
          <ac:spMkLst>
            <pc:docMk/>
            <pc:sldMk cId="1027013226" sldId="2145706917"/>
            <ac:spMk id="4" creationId="{6963AAA6-D54C-41CC-8A6F-1E1BB00CA185}"/>
          </ac:spMkLst>
        </pc:spChg>
        <pc:spChg chg="add del mod">
          <ac:chgData name="Hannah Hampson" userId="81509245-5bd3-4028-9ded-7c4521882c8e" providerId="ADAL" clId="{796308D1-C2BC-4E92-89CB-5BBEA4E2BBA1}" dt="2021-08-26T07:38:04.600" v="71" actId="478"/>
          <ac:spMkLst>
            <pc:docMk/>
            <pc:sldMk cId="1027013226" sldId="2145706917"/>
            <ac:spMk id="9" creationId="{298D3A3A-BAFD-4C9F-A185-B1B4E772C32D}"/>
          </ac:spMkLst>
        </pc:spChg>
        <pc:picChg chg="mod">
          <ac:chgData name="Hannah Hampson" userId="81509245-5bd3-4028-9ded-7c4521882c8e" providerId="ADAL" clId="{796308D1-C2BC-4E92-89CB-5BBEA4E2BBA1}" dt="2021-08-26T07:38:19.220" v="80" actId="14100"/>
          <ac:picMkLst>
            <pc:docMk/>
            <pc:sldMk cId="1027013226" sldId="2145706917"/>
            <ac:picMk id="5" creationId="{ABB75A70-5D5B-438F-B982-812FFAD52282}"/>
          </ac:picMkLst>
        </pc:picChg>
        <pc:picChg chg="add del mod">
          <ac:chgData name="Hannah Hampson" userId="81509245-5bd3-4028-9ded-7c4521882c8e" providerId="ADAL" clId="{796308D1-C2BC-4E92-89CB-5BBEA4E2BBA1}" dt="2021-08-26T07:37:41.518" v="67" actId="478"/>
          <ac:picMkLst>
            <pc:docMk/>
            <pc:sldMk cId="1027013226" sldId="2145706917"/>
            <ac:picMk id="6" creationId="{A354FC93-E00C-48C3-B080-6F81210AFAD4}"/>
          </ac:picMkLst>
        </pc:picChg>
        <pc:picChg chg="add mod">
          <ac:chgData name="Hannah Hampson" userId="81509245-5bd3-4028-9ded-7c4521882c8e" providerId="ADAL" clId="{796308D1-C2BC-4E92-89CB-5BBEA4E2BBA1}" dt="2021-08-26T07:38:21.315" v="81" actId="1076"/>
          <ac:picMkLst>
            <pc:docMk/>
            <pc:sldMk cId="1027013226" sldId="2145706917"/>
            <ac:picMk id="7" creationId="{7DFAE6BC-4561-4728-AD5C-37460F574709}"/>
          </ac:picMkLst>
        </pc:picChg>
      </pc:sldChg>
      <pc:sldChg chg="modSp del">
        <pc:chgData name="Hannah Hampson" userId="81509245-5bd3-4028-9ded-7c4521882c8e" providerId="ADAL" clId="{796308D1-C2BC-4E92-89CB-5BBEA4E2BBA1}" dt="2021-08-26T07:42:00.233" v="101" actId="47"/>
        <pc:sldMkLst>
          <pc:docMk/>
          <pc:sldMk cId="2054006926" sldId="2145706918"/>
        </pc:sldMkLst>
        <pc:spChg chg="mod">
          <ac:chgData name="Hannah Hampson" userId="81509245-5bd3-4028-9ded-7c4521882c8e" providerId="ADAL" clId="{796308D1-C2BC-4E92-89CB-5BBEA4E2BBA1}" dt="2021-08-26T07:39:15.287" v="89"/>
          <ac:spMkLst>
            <pc:docMk/>
            <pc:sldMk cId="2054006926" sldId="2145706918"/>
            <ac:spMk id="2" creationId="{3C7BF3A1-27FA-424E-8626-245029F946E5}"/>
          </ac:spMkLst>
        </pc:spChg>
        <pc:spChg chg="mod">
          <ac:chgData name="Hannah Hampson" userId="81509245-5bd3-4028-9ded-7c4521882c8e" providerId="ADAL" clId="{796308D1-C2BC-4E92-89CB-5BBEA4E2BBA1}" dt="2021-08-26T07:39:15.287" v="89"/>
          <ac:spMkLst>
            <pc:docMk/>
            <pc:sldMk cId="2054006926" sldId="2145706918"/>
            <ac:spMk id="3" creationId="{33EACEA9-6069-45F6-A58D-E453420C9147}"/>
          </ac:spMkLst>
        </pc:spChg>
      </pc:sldChg>
      <pc:sldChg chg="modSp mod">
        <pc:chgData name="Hannah Hampson" userId="81509245-5bd3-4028-9ded-7c4521882c8e" providerId="ADAL" clId="{796308D1-C2BC-4E92-89CB-5BBEA4E2BBA1}" dt="2021-08-26T07:43:10.155" v="120" actId="14100"/>
        <pc:sldMkLst>
          <pc:docMk/>
          <pc:sldMk cId="2719839047" sldId="2145706919"/>
        </pc:sldMkLst>
        <pc:spChg chg="mod">
          <ac:chgData name="Hannah Hampson" userId="81509245-5bd3-4028-9ded-7c4521882c8e" providerId="ADAL" clId="{796308D1-C2BC-4E92-89CB-5BBEA4E2BBA1}" dt="2021-08-26T07:43:10.155" v="120" actId="14100"/>
          <ac:spMkLst>
            <pc:docMk/>
            <pc:sldMk cId="2719839047" sldId="2145706919"/>
            <ac:spMk id="2" creationId="{F6FFA9A0-CFD0-4A65-945B-AED4297394F5}"/>
          </ac:spMkLst>
        </pc:spChg>
        <pc:cxnChg chg="mod">
          <ac:chgData name="Hannah Hampson" userId="81509245-5bd3-4028-9ded-7c4521882c8e" providerId="ADAL" clId="{796308D1-C2BC-4E92-89CB-5BBEA4E2BBA1}" dt="2021-08-26T07:43:06.837" v="119" actId="1076"/>
          <ac:cxnSpMkLst>
            <pc:docMk/>
            <pc:sldMk cId="2719839047" sldId="2145706919"/>
            <ac:cxnSpMk id="14" creationId="{49316DD1-E02D-4B63-B401-5F85E726F143}"/>
          </ac:cxnSpMkLst>
        </pc:cxnChg>
      </pc:sldChg>
      <pc:sldChg chg="del">
        <pc:chgData name="Hannah Hampson" userId="81509245-5bd3-4028-9ded-7c4521882c8e" providerId="ADAL" clId="{796308D1-C2BC-4E92-89CB-5BBEA4E2BBA1}" dt="2021-08-26T07:41:59.591" v="100" actId="47"/>
        <pc:sldMkLst>
          <pc:docMk/>
          <pc:sldMk cId="988182385" sldId="2145706920"/>
        </pc:sldMkLst>
      </pc:sldChg>
      <pc:sldChg chg="del">
        <pc:chgData name="Hannah Hampson" userId="81509245-5bd3-4028-9ded-7c4521882c8e" providerId="ADAL" clId="{796308D1-C2BC-4E92-89CB-5BBEA4E2BBA1}" dt="2021-08-26T07:44:42.516" v="139" actId="47"/>
        <pc:sldMkLst>
          <pc:docMk/>
          <pc:sldMk cId="2554199065" sldId="2145706921"/>
        </pc:sldMkLst>
      </pc:sldChg>
      <pc:sldChg chg="modSp">
        <pc:chgData name="Hannah Hampson" userId="81509245-5bd3-4028-9ded-7c4521882c8e" providerId="ADAL" clId="{796308D1-C2BC-4E92-89CB-5BBEA4E2BBA1}" dt="2021-08-26T07:39:15.287" v="89"/>
        <pc:sldMkLst>
          <pc:docMk/>
          <pc:sldMk cId="122700418" sldId="2145706922"/>
        </pc:sldMkLst>
        <pc:spChg chg="mod">
          <ac:chgData name="Hannah Hampson" userId="81509245-5bd3-4028-9ded-7c4521882c8e" providerId="ADAL" clId="{796308D1-C2BC-4E92-89CB-5BBEA4E2BBA1}" dt="2021-08-26T07:39:15.287" v="89"/>
          <ac:spMkLst>
            <pc:docMk/>
            <pc:sldMk cId="122700418" sldId="2145706922"/>
            <ac:spMk id="3" creationId="{FE4DA901-744B-4CA6-A098-5BC1466D4CB1}"/>
          </ac:spMkLst>
        </pc:spChg>
      </pc:sldChg>
      <pc:sldChg chg="modSp">
        <pc:chgData name="Hannah Hampson" userId="81509245-5bd3-4028-9ded-7c4521882c8e" providerId="ADAL" clId="{796308D1-C2BC-4E92-89CB-5BBEA4E2BBA1}" dt="2021-08-26T07:39:15.287" v="89"/>
        <pc:sldMkLst>
          <pc:docMk/>
          <pc:sldMk cId="1301800987" sldId="2145706923"/>
        </pc:sldMkLst>
        <pc:spChg chg="mod">
          <ac:chgData name="Hannah Hampson" userId="81509245-5bd3-4028-9ded-7c4521882c8e" providerId="ADAL" clId="{796308D1-C2BC-4E92-89CB-5BBEA4E2BBA1}" dt="2021-08-26T07:39:15.287" v="89"/>
          <ac:spMkLst>
            <pc:docMk/>
            <pc:sldMk cId="1301800987" sldId="2145706923"/>
            <ac:spMk id="2" creationId="{1B3A890F-6C14-4083-810C-00EC8F569CE1}"/>
          </ac:spMkLst>
        </pc:spChg>
        <pc:spChg chg="mod">
          <ac:chgData name="Hannah Hampson" userId="81509245-5bd3-4028-9ded-7c4521882c8e" providerId="ADAL" clId="{796308D1-C2BC-4E92-89CB-5BBEA4E2BBA1}" dt="2021-08-26T07:39:15.287" v="89"/>
          <ac:spMkLst>
            <pc:docMk/>
            <pc:sldMk cId="1301800987" sldId="2145706923"/>
            <ac:spMk id="3" creationId="{F4ED416E-3DB4-41B8-A4CC-26F8F0CFED4E}"/>
          </ac:spMkLst>
        </pc:spChg>
      </pc:sldChg>
      <pc:sldChg chg="modSp mod">
        <pc:chgData name="Hannah Hampson" userId="81509245-5bd3-4028-9ded-7c4521882c8e" providerId="ADAL" clId="{796308D1-C2BC-4E92-89CB-5BBEA4E2BBA1}" dt="2021-08-26T07:39:15.287" v="89"/>
        <pc:sldMkLst>
          <pc:docMk/>
          <pc:sldMk cId="2985779078" sldId="2145706926"/>
        </pc:sldMkLst>
        <pc:spChg chg="mod">
          <ac:chgData name="Hannah Hampson" userId="81509245-5bd3-4028-9ded-7c4521882c8e" providerId="ADAL" clId="{796308D1-C2BC-4E92-89CB-5BBEA4E2BBA1}" dt="2021-08-26T07:39:15.287" v="89"/>
          <ac:spMkLst>
            <pc:docMk/>
            <pc:sldMk cId="2985779078" sldId="2145706926"/>
            <ac:spMk id="4" creationId="{2D1B621E-F924-481D-8F79-11CB07A5EBA1}"/>
          </ac:spMkLst>
        </pc:spChg>
      </pc:sldChg>
      <pc:sldChg chg="modSp mod">
        <pc:chgData name="Hannah Hampson" userId="81509245-5bd3-4028-9ded-7c4521882c8e" providerId="ADAL" clId="{796308D1-C2BC-4E92-89CB-5BBEA4E2BBA1}" dt="2021-08-26T07:39:15.287" v="89"/>
        <pc:sldMkLst>
          <pc:docMk/>
          <pc:sldMk cId="3299820206" sldId="2145706927"/>
        </pc:sldMkLst>
        <pc:spChg chg="mod">
          <ac:chgData name="Hannah Hampson" userId="81509245-5bd3-4028-9ded-7c4521882c8e" providerId="ADAL" clId="{796308D1-C2BC-4E92-89CB-5BBEA4E2BBA1}" dt="2021-08-26T07:39:15.287" v="89"/>
          <ac:spMkLst>
            <pc:docMk/>
            <pc:sldMk cId="3299820206" sldId="2145706927"/>
            <ac:spMk id="3" creationId="{E5D6E56D-71C5-48F2-B1E3-2D3B04C46BD2}"/>
          </ac:spMkLst>
        </pc:spChg>
      </pc:sldChg>
      <pc:sldChg chg="del">
        <pc:chgData name="Hannah Hampson" userId="81509245-5bd3-4028-9ded-7c4521882c8e" providerId="ADAL" clId="{796308D1-C2BC-4E92-89CB-5BBEA4E2BBA1}" dt="2021-08-26T07:40:34.780" v="96" actId="47"/>
        <pc:sldMkLst>
          <pc:docMk/>
          <pc:sldMk cId="3474033502" sldId="2145706928"/>
        </pc:sldMkLst>
      </pc:sldChg>
      <pc:sldChg chg="modSp del mod">
        <pc:chgData name="Hannah Hampson" userId="81509245-5bd3-4028-9ded-7c4521882c8e" providerId="ADAL" clId="{796308D1-C2BC-4E92-89CB-5BBEA4E2BBA1}" dt="2021-08-26T07:44:43.164" v="140" actId="47"/>
        <pc:sldMkLst>
          <pc:docMk/>
          <pc:sldMk cId="2313363995" sldId="2145706929"/>
        </pc:sldMkLst>
        <pc:spChg chg="mod">
          <ac:chgData name="Hannah Hampson" userId="81509245-5bd3-4028-9ded-7c4521882c8e" providerId="ADAL" clId="{796308D1-C2BC-4E92-89CB-5BBEA4E2BBA1}" dt="2021-08-26T07:42:21.235" v="107" actId="20577"/>
          <ac:spMkLst>
            <pc:docMk/>
            <pc:sldMk cId="2313363995" sldId="2145706929"/>
            <ac:spMk id="2" creationId="{3C7BF3A1-27FA-424E-8626-245029F946E5}"/>
          </ac:spMkLst>
        </pc:spChg>
      </pc:sldChg>
      <pc:sldChg chg="modSp mod ord">
        <pc:chgData name="Hannah Hampson" userId="81509245-5bd3-4028-9ded-7c4521882c8e" providerId="ADAL" clId="{796308D1-C2BC-4E92-89CB-5BBEA4E2BBA1}" dt="2021-08-26T07:40:43.498" v="98"/>
        <pc:sldMkLst>
          <pc:docMk/>
          <pc:sldMk cId="2293474804" sldId="2145706930"/>
        </pc:sldMkLst>
        <pc:spChg chg="mod">
          <ac:chgData name="Hannah Hampson" userId="81509245-5bd3-4028-9ded-7c4521882c8e" providerId="ADAL" clId="{796308D1-C2BC-4E92-89CB-5BBEA4E2BBA1}" dt="2021-08-26T07:40:28.358" v="95" actId="14100"/>
          <ac:spMkLst>
            <pc:docMk/>
            <pc:sldMk cId="2293474804" sldId="2145706930"/>
            <ac:spMk id="2" creationId="{3C7BF3A1-27FA-424E-8626-245029F946E5}"/>
          </ac:spMkLst>
        </pc:spChg>
      </pc:sldChg>
      <pc:sldChg chg="add">
        <pc:chgData name="Hannah Hampson" userId="81509245-5bd3-4028-9ded-7c4521882c8e" providerId="ADAL" clId="{796308D1-C2BC-4E92-89CB-5BBEA4E2BBA1}" dt="2021-08-26T07:40:09.016" v="91"/>
        <pc:sldMkLst>
          <pc:docMk/>
          <pc:sldMk cId="1826755931" sldId="2145706931"/>
        </pc:sldMkLst>
      </pc:sldChg>
      <pc:sldChg chg="addSp delSp modSp mod">
        <pc:chgData name="Hannah Hampson" userId="81509245-5bd3-4028-9ded-7c4521882c8e" providerId="ADAL" clId="{796308D1-C2BC-4E92-89CB-5BBEA4E2BBA1}" dt="2021-08-26T07:44:26.450" v="134" actId="1076"/>
        <pc:sldMkLst>
          <pc:docMk/>
          <pc:sldMk cId="684101007" sldId="2145706932"/>
        </pc:sldMkLst>
        <pc:spChg chg="del mod">
          <ac:chgData name="Hannah Hampson" userId="81509245-5bd3-4028-9ded-7c4521882c8e" providerId="ADAL" clId="{796308D1-C2BC-4E92-89CB-5BBEA4E2BBA1}" dt="2021-08-26T07:44:06.855" v="127" actId="478"/>
          <ac:spMkLst>
            <pc:docMk/>
            <pc:sldMk cId="684101007" sldId="2145706932"/>
            <ac:spMk id="2" creationId="{3C7BF3A1-27FA-424E-8626-245029F946E5}"/>
          </ac:spMkLst>
        </pc:spChg>
        <pc:spChg chg="add del mod">
          <ac:chgData name="Hannah Hampson" userId="81509245-5bd3-4028-9ded-7c4521882c8e" providerId="ADAL" clId="{796308D1-C2BC-4E92-89CB-5BBEA4E2BBA1}" dt="2021-08-26T07:44:10.021" v="128" actId="478"/>
          <ac:spMkLst>
            <pc:docMk/>
            <pc:sldMk cId="684101007" sldId="2145706932"/>
            <ac:spMk id="4" creationId="{AE8BF0BC-1249-41C4-A0C1-A6158E921D21}"/>
          </ac:spMkLst>
        </pc:spChg>
        <pc:spChg chg="add del mod">
          <ac:chgData name="Hannah Hampson" userId="81509245-5bd3-4028-9ded-7c4521882c8e" providerId="ADAL" clId="{796308D1-C2BC-4E92-89CB-5BBEA4E2BBA1}" dt="2021-08-26T07:44:12.279" v="130"/>
          <ac:spMkLst>
            <pc:docMk/>
            <pc:sldMk cId="684101007" sldId="2145706932"/>
            <ac:spMk id="6" creationId="{761CFFDF-98D8-42F0-B62E-EE08F9F91344}"/>
          </ac:spMkLst>
        </pc:spChg>
        <pc:spChg chg="add mod">
          <ac:chgData name="Hannah Hampson" userId="81509245-5bd3-4028-9ded-7c4521882c8e" providerId="ADAL" clId="{796308D1-C2BC-4E92-89CB-5BBEA4E2BBA1}" dt="2021-08-26T07:44:22.453" v="132" actId="1076"/>
          <ac:spMkLst>
            <pc:docMk/>
            <pc:sldMk cId="684101007" sldId="2145706932"/>
            <ac:spMk id="8" creationId="{A5627C12-50C0-49A8-A793-07BA74A56867}"/>
          </ac:spMkLst>
        </pc:spChg>
        <pc:picChg chg="mod">
          <ac:chgData name="Hannah Hampson" userId="81509245-5bd3-4028-9ded-7c4521882c8e" providerId="ADAL" clId="{796308D1-C2BC-4E92-89CB-5BBEA4E2BBA1}" dt="2021-08-26T07:44:26.450" v="134" actId="1076"/>
          <ac:picMkLst>
            <pc:docMk/>
            <pc:sldMk cId="684101007" sldId="2145706932"/>
            <ac:picMk id="5" creationId="{ABB75A70-5D5B-438F-B982-812FFAD52282}"/>
          </ac:picMkLst>
        </pc:picChg>
        <pc:picChg chg="del">
          <ac:chgData name="Hannah Hampson" userId="81509245-5bd3-4028-9ded-7c4521882c8e" providerId="ADAL" clId="{796308D1-C2BC-4E92-89CB-5BBEA4E2BBA1}" dt="2021-08-26T07:43:52.167" v="121" actId="478"/>
          <ac:picMkLst>
            <pc:docMk/>
            <pc:sldMk cId="684101007" sldId="2145706932"/>
            <ac:picMk id="7" creationId="{7DFAE6BC-4561-4728-AD5C-37460F574709}"/>
          </ac:picMkLst>
        </pc:picChg>
      </pc:sldChg>
      <pc:sldChg chg="addSp delSp modSp add mod">
        <pc:chgData name="Hannah Hampson" userId="81509245-5bd3-4028-9ded-7c4521882c8e" providerId="ADAL" clId="{796308D1-C2BC-4E92-89CB-5BBEA4E2BBA1}" dt="2021-08-26T07:44:53.718" v="141" actId="20577"/>
        <pc:sldMkLst>
          <pc:docMk/>
          <pc:sldMk cId="1899341910" sldId="2145706933"/>
        </pc:sldMkLst>
        <pc:spChg chg="add del mod">
          <ac:chgData name="Hannah Hampson" userId="81509245-5bd3-4028-9ded-7c4521882c8e" providerId="ADAL" clId="{796308D1-C2BC-4E92-89CB-5BBEA4E2BBA1}" dt="2021-08-26T07:44:40.396" v="138" actId="478"/>
          <ac:spMkLst>
            <pc:docMk/>
            <pc:sldMk cId="1899341910" sldId="2145706933"/>
            <ac:spMk id="3" creationId="{53B90F51-C97D-45D5-934D-CF528397E655}"/>
          </ac:spMkLst>
        </pc:spChg>
        <pc:spChg chg="add mod">
          <ac:chgData name="Hannah Hampson" userId="81509245-5bd3-4028-9ded-7c4521882c8e" providerId="ADAL" clId="{796308D1-C2BC-4E92-89CB-5BBEA4E2BBA1}" dt="2021-08-26T07:44:53.718" v="141" actId="20577"/>
          <ac:spMkLst>
            <pc:docMk/>
            <pc:sldMk cId="1899341910" sldId="2145706933"/>
            <ac:spMk id="6" creationId="{4374D21E-5E43-4FC5-9AFA-80B493B6E05F}"/>
          </ac:spMkLst>
        </pc:spChg>
        <pc:spChg chg="del">
          <ac:chgData name="Hannah Hampson" userId="81509245-5bd3-4028-9ded-7c4521882c8e" providerId="ADAL" clId="{796308D1-C2BC-4E92-89CB-5BBEA4E2BBA1}" dt="2021-08-26T07:44:37.353" v="136" actId="478"/>
          <ac:spMkLst>
            <pc:docMk/>
            <pc:sldMk cId="1899341910" sldId="2145706933"/>
            <ac:spMk id="8" creationId="{A5627C12-50C0-49A8-A793-07BA74A56867}"/>
          </ac:spMkLst>
        </pc:spChg>
      </pc:sldChg>
      <pc:sldMasterChg chg="addSp modSldLayout">
        <pc:chgData name="Hannah Hampson" userId="81509245-5bd3-4028-9ded-7c4521882c8e" providerId="ADAL" clId="{796308D1-C2BC-4E92-89CB-5BBEA4E2BBA1}" dt="2021-08-26T07:38:59.106" v="82"/>
        <pc:sldMasterMkLst>
          <pc:docMk/>
          <pc:sldMasterMk cId="3829058319" sldId="2147483709"/>
        </pc:sldMasterMkLst>
        <pc:grpChg chg="add">
          <ac:chgData name="Hannah Hampson" userId="81509245-5bd3-4028-9ded-7c4521882c8e" providerId="ADAL" clId="{796308D1-C2BC-4E92-89CB-5BBEA4E2BBA1}" dt="2021-08-26T07:38:59.106" v="82"/>
          <ac:grpSpMkLst>
            <pc:docMk/>
            <pc:sldMasterMk cId="3829058319" sldId="2147483709"/>
            <ac:grpSpMk id="9" creationId="{DB4EC093-4DCC-4A2C-8626-B6230F2D42D0}"/>
          </ac:grpSpMkLst>
        </pc:grpChg>
        <pc:picChg chg="add">
          <ac:chgData name="Hannah Hampson" userId="81509245-5bd3-4028-9ded-7c4521882c8e" providerId="ADAL" clId="{796308D1-C2BC-4E92-89CB-5BBEA4E2BBA1}" dt="2021-08-26T07:38:59.106" v="82"/>
          <ac:picMkLst>
            <pc:docMk/>
            <pc:sldMasterMk cId="3829058319" sldId="2147483709"/>
            <ac:picMk id="8" creationId="{CE043B9B-9AB5-4503-94A8-860604B548FD}"/>
          </ac:picMkLst>
        </pc:picChg>
        <pc:sldLayoutChg chg="addSp">
          <pc:chgData name="Hannah Hampson" userId="81509245-5bd3-4028-9ded-7c4521882c8e" providerId="ADAL" clId="{796308D1-C2BC-4E92-89CB-5BBEA4E2BBA1}" dt="2021-08-26T07:38:59.106" v="82"/>
          <pc:sldLayoutMkLst>
            <pc:docMk/>
            <pc:sldMasterMk cId="3829058319" sldId="2147483709"/>
            <pc:sldLayoutMk cId="856616444" sldId="2147483710"/>
          </pc:sldLayoutMkLst>
          <pc:spChg chg="add">
            <ac:chgData name="Hannah Hampson" userId="81509245-5bd3-4028-9ded-7c4521882c8e" providerId="ADAL" clId="{796308D1-C2BC-4E92-89CB-5BBEA4E2BBA1}" dt="2021-08-26T07:38:59.106" v="82"/>
            <ac:spMkLst>
              <pc:docMk/>
              <pc:sldMasterMk cId="3829058319" sldId="2147483709"/>
              <pc:sldLayoutMk cId="856616444" sldId="2147483710"/>
              <ac:spMk id="10" creationId="{D47EA2A7-49F1-4EFD-A4EB-A05604F4D24C}"/>
            </ac:spMkLst>
          </pc:spChg>
          <pc:picChg chg="add">
            <ac:chgData name="Hannah Hampson" userId="81509245-5bd3-4028-9ded-7c4521882c8e" providerId="ADAL" clId="{796308D1-C2BC-4E92-89CB-5BBEA4E2BBA1}" dt="2021-08-26T07:38:59.106" v="82"/>
            <ac:picMkLst>
              <pc:docMk/>
              <pc:sldMasterMk cId="3829058319" sldId="2147483709"/>
              <pc:sldLayoutMk cId="856616444" sldId="2147483710"/>
              <ac:picMk id="9" creationId="{2DFAE5D2-6281-4128-B576-E0EE50EEB3FA}"/>
            </ac:picMkLst>
          </pc:picChg>
          <pc:picChg chg="add">
            <ac:chgData name="Hannah Hampson" userId="81509245-5bd3-4028-9ded-7c4521882c8e" providerId="ADAL" clId="{796308D1-C2BC-4E92-89CB-5BBEA4E2BBA1}" dt="2021-08-26T07:38:59.106" v="82"/>
            <ac:picMkLst>
              <pc:docMk/>
              <pc:sldMasterMk cId="3829058319" sldId="2147483709"/>
              <pc:sldLayoutMk cId="856616444" sldId="2147483710"/>
              <ac:picMk id="11" creationId="{B71A7C3B-CB29-47DC-A102-7A9B1104C5A6}"/>
            </ac:picMkLst>
          </pc:picChg>
        </pc:sldLayoutChg>
      </pc:sldMasterChg>
      <pc:sldMasterChg chg="addSp modSldLayout">
        <pc:chgData name="Hannah Hampson" userId="81509245-5bd3-4028-9ded-7c4521882c8e" providerId="ADAL" clId="{796308D1-C2BC-4E92-89CB-5BBEA4E2BBA1}" dt="2021-08-26T07:39:00.988" v="86"/>
        <pc:sldMasterMkLst>
          <pc:docMk/>
          <pc:sldMasterMk cId="3887830898" sldId="2147483722"/>
        </pc:sldMasterMkLst>
        <pc:grpChg chg="add">
          <ac:chgData name="Hannah Hampson" userId="81509245-5bd3-4028-9ded-7c4521882c8e" providerId="ADAL" clId="{796308D1-C2BC-4E92-89CB-5BBEA4E2BBA1}" dt="2021-08-26T07:39:00.988" v="86"/>
          <ac:grpSpMkLst>
            <pc:docMk/>
            <pc:sldMasterMk cId="3887830898" sldId="2147483722"/>
            <ac:grpSpMk id="9" creationId="{F5D96D45-C07F-4A4E-9BBC-6C82D75AF3CA}"/>
          </ac:grpSpMkLst>
        </pc:grpChg>
        <pc:picChg chg="add">
          <ac:chgData name="Hannah Hampson" userId="81509245-5bd3-4028-9ded-7c4521882c8e" providerId="ADAL" clId="{796308D1-C2BC-4E92-89CB-5BBEA4E2BBA1}" dt="2021-08-26T07:39:00.988" v="86"/>
          <ac:picMkLst>
            <pc:docMk/>
            <pc:sldMasterMk cId="3887830898" sldId="2147483722"/>
            <ac:picMk id="8" creationId="{514D5363-91EA-4295-9595-8F015B4A9E2D}"/>
          </ac:picMkLst>
        </pc:picChg>
        <pc:sldLayoutChg chg="addSp">
          <pc:chgData name="Hannah Hampson" userId="81509245-5bd3-4028-9ded-7c4521882c8e" providerId="ADAL" clId="{796308D1-C2BC-4E92-89CB-5BBEA4E2BBA1}" dt="2021-08-26T07:39:00.988" v="86"/>
          <pc:sldLayoutMkLst>
            <pc:docMk/>
            <pc:sldMasterMk cId="3887830898" sldId="2147483722"/>
            <pc:sldLayoutMk cId="1244091651" sldId="2147483723"/>
          </pc:sldLayoutMkLst>
          <pc:spChg chg="add">
            <ac:chgData name="Hannah Hampson" userId="81509245-5bd3-4028-9ded-7c4521882c8e" providerId="ADAL" clId="{796308D1-C2BC-4E92-89CB-5BBEA4E2BBA1}" dt="2021-08-26T07:39:00.988" v="86"/>
            <ac:spMkLst>
              <pc:docMk/>
              <pc:sldMasterMk cId="3887830898" sldId="2147483722"/>
              <pc:sldLayoutMk cId="1244091651" sldId="2147483723"/>
              <ac:spMk id="10" creationId="{841AB799-B859-4C8B-8A3E-A94705650014}"/>
            </ac:spMkLst>
          </pc:spChg>
          <pc:picChg chg="add">
            <ac:chgData name="Hannah Hampson" userId="81509245-5bd3-4028-9ded-7c4521882c8e" providerId="ADAL" clId="{796308D1-C2BC-4E92-89CB-5BBEA4E2BBA1}" dt="2021-08-26T07:39:00.988" v="86"/>
            <ac:picMkLst>
              <pc:docMk/>
              <pc:sldMasterMk cId="3887830898" sldId="2147483722"/>
              <pc:sldLayoutMk cId="1244091651" sldId="2147483723"/>
              <ac:picMk id="9" creationId="{43ED2DE1-4545-48A6-83E7-ACE3AD43A425}"/>
            </ac:picMkLst>
          </pc:picChg>
          <pc:picChg chg="add">
            <ac:chgData name="Hannah Hampson" userId="81509245-5bd3-4028-9ded-7c4521882c8e" providerId="ADAL" clId="{796308D1-C2BC-4E92-89CB-5BBEA4E2BBA1}" dt="2021-08-26T07:39:00.988" v="86"/>
            <ac:picMkLst>
              <pc:docMk/>
              <pc:sldMasterMk cId="3887830898" sldId="2147483722"/>
              <pc:sldLayoutMk cId="1244091651" sldId="2147483723"/>
              <ac:picMk id="11" creationId="{0CBA202A-1F26-4D0F-854E-CAA0B8216C5A}"/>
            </ac:picMkLst>
          </pc:picChg>
        </pc:sldLayoutChg>
      </pc:sldMasterChg>
    </pc:docChg>
  </pc:docChgLst>
  <pc:docChgLst>
    <pc:chgData name="Hannah Hampson" userId="81509245-5bd3-4028-9ded-7c4521882c8e" providerId="ADAL" clId="{6ECBCF3F-E071-402B-8191-90C2C433B13A}"/>
    <pc:docChg chg="undo custSel addSld delSld modSld sldOrd">
      <pc:chgData name="Hannah Hampson" userId="81509245-5bd3-4028-9ded-7c4521882c8e" providerId="ADAL" clId="{6ECBCF3F-E071-402B-8191-90C2C433B13A}" dt="2021-08-25T14:56:43.740" v="735" actId="478"/>
      <pc:docMkLst>
        <pc:docMk/>
      </pc:docMkLst>
      <pc:sldChg chg="del">
        <pc:chgData name="Hannah Hampson" userId="81509245-5bd3-4028-9ded-7c4521882c8e" providerId="ADAL" clId="{6ECBCF3F-E071-402B-8191-90C2C433B13A}" dt="2021-08-25T14:42:57.573" v="0" actId="47"/>
        <pc:sldMkLst>
          <pc:docMk/>
          <pc:sldMk cId="880019429" sldId="278"/>
        </pc:sldMkLst>
      </pc:sldChg>
      <pc:sldChg chg="modSp mod">
        <pc:chgData name="Hannah Hampson" userId="81509245-5bd3-4028-9ded-7c4521882c8e" providerId="ADAL" clId="{6ECBCF3F-E071-402B-8191-90C2C433B13A}" dt="2021-08-25T14:44:24.250" v="3" actId="12"/>
        <pc:sldMkLst>
          <pc:docMk/>
          <pc:sldMk cId="3101338334" sldId="308"/>
        </pc:sldMkLst>
        <pc:spChg chg="mod">
          <ac:chgData name="Hannah Hampson" userId="81509245-5bd3-4028-9ded-7c4521882c8e" providerId="ADAL" clId="{6ECBCF3F-E071-402B-8191-90C2C433B13A}" dt="2021-08-25T14:44:24.250" v="3" actId="12"/>
          <ac:spMkLst>
            <pc:docMk/>
            <pc:sldMk cId="3101338334" sldId="308"/>
            <ac:spMk id="8" creationId="{529CF2BA-F685-4541-BF72-F6848A80DDA5}"/>
          </ac:spMkLst>
        </pc:spChg>
      </pc:sldChg>
      <pc:sldChg chg="modSp mod">
        <pc:chgData name="Hannah Hampson" userId="81509245-5bd3-4028-9ded-7c4521882c8e" providerId="ADAL" clId="{6ECBCF3F-E071-402B-8191-90C2C433B13A}" dt="2021-08-25T14:51:29.711" v="633" actId="20577"/>
        <pc:sldMkLst>
          <pc:docMk/>
          <pc:sldMk cId="1091011188" sldId="2145706881"/>
        </pc:sldMkLst>
        <pc:spChg chg="mod">
          <ac:chgData name="Hannah Hampson" userId="81509245-5bd3-4028-9ded-7c4521882c8e" providerId="ADAL" clId="{6ECBCF3F-E071-402B-8191-90C2C433B13A}" dt="2021-08-25T14:51:29.711" v="633" actId="20577"/>
          <ac:spMkLst>
            <pc:docMk/>
            <pc:sldMk cId="1091011188" sldId="2145706881"/>
            <ac:spMk id="2" creationId="{F76174D8-0CC1-4477-B429-EF8382D3B9CC}"/>
          </ac:spMkLst>
        </pc:spChg>
      </pc:sldChg>
      <pc:sldChg chg="delSp mod">
        <pc:chgData name="Hannah Hampson" userId="81509245-5bd3-4028-9ded-7c4521882c8e" providerId="ADAL" clId="{6ECBCF3F-E071-402B-8191-90C2C433B13A}" dt="2021-08-25T14:56:43.740" v="735" actId="478"/>
        <pc:sldMkLst>
          <pc:docMk/>
          <pc:sldMk cId="622130226" sldId="2145706907"/>
        </pc:sldMkLst>
        <pc:spChg chg="del">
          <ac:chgData name="Hannah Hampson" userId="81509245-5bd3-4028-9ded-7c4521882c8e" providerId="ADAL" clId="{6ECBCF3F-E071-402B-8191-90C2C433B13A}" dt="2021-08-25T14:56:43.740" v="735" actId="478"/>
          <ac:spMkLst>
            <pc:docMk/>
            <pc:sldMk cId="622130226" sldId="2145706907"/>
            <ac:spMk id="4" creationId="{FBD5F4F9-C7C5-4F75-8248-5BC91D597CC9}"/>
          </ac:spMkLst>
        </pc:spChg>
      </pc:sldChg>
      <pc:sldChg chg="modSp mod">
        <pc:chgData name="Hannah Hampson" userId="81509245-5bd3-4028-9ded-7c4521882c8e" providerId="ADAL" clId="{6ECBCF3F-E071-402B-8191-90C2C433B13A}" dt="2021-08-25T14:56:16.843" v="734" actId="20577"/>
        <pc:sldMkLst>
          <pc:docMk/>
          <pc:sldMk cId="546900343" sldId="2145706916"/>
        </pc:sldMkLst>
        <pc:spChg chg="mod">
          <ac:chgData name="Hannah Hampson" userId="81509245-5bd3-4028-9ded-7c4521882c8e" providerId="ADAL" clId="{6ECBCF3F-E071-402B-8191-90C2C433B13A}" dt="2021-08-25T14:56:16.843" v="734" actId="20577"/>
          <ac:spMkLst>
            <pc:docMk/>
            <pc:sldMk cId="546900343" sldId="2145706916"/>
            <ac:spMk id="2" creationId="{3C7BF3A1-27FA-424E-8626-245029F946E5}"/>
          </ac:spMkLst>
        </pc:spChg>
        <pc:spChg chg="mod">
          <ac:chgData name="Hannah Hampson" userId="81509245-5bd3-4028-9ded-7c4521882c8e" providerId="ADAL" clId="{6ECBCF3F-E071-402B-8191-90C2C433B13A}" dt="2021-08-25T14:48:59.223" v="392" actId="13926"/>
          <ac:spMkLst>
            <pc:docMk/>
            <pc:sldMk cId="546900343" sldId="2145706916"/>
            <ac:spMk id="3" creationId="{33EACEA9-6069-45F6-A58D-E453420C9147}"/>
          </ac:spMkLst>
        </pc:spChg>
      </pc:sldChg>
      <pc:sldChg chg="addSp modSp mod ord">
        <pc:chgData name="Hannah Hampson" userId="81509245-5bd3-4028-9ded-7c4521882c8e" providerId="ADAL" clId="{6ECBCF3F-E071-402B-8191-90C2C433B13A}" dt="2021-08-25T14:55:22.385" v="659" actId="20577"/>
        <pc:sldMkLst>
          <pc:docMk/>
          <pc:sldMk cId="1027013226" sldId="2145706917"/>
        </pc:sldMkLst>
        <pc:spChg chg="mod">
          <ac:chgData name="Hannah Hampson" userId="81509245-5bd3-4028-9ded-7c4521882c8e" providerId="ADAL" clId="{6ECBCF3F-E071-402B-8191-90C2C433B13A}" dt="2021-08-25T14:47:59.398" v="391" actId="20577"/>
          <ac:spMkLst>
            <pc:docMk/>
            <pc:sldMk cId="1027013226" sldId="2145706917"/>
            <ac:spMk id="2" creationId="{3C7BF3A1-27FA-424E-8626-245029F946E5}"/>
          </ac:spMkLst>
        </pc:spChg>
        <pc:spChg chg="add mod">
          <ac:chgData name="Hannah Hampson" userId="81509245-5bd3-4028-9ded-7c4521882c8e" providerId="ADAL" clId="{6ECBCF3F-E071-402B-8191-90C2C433B13A}" dt="2021-08-25T14:55:22.385" v="659" actId="20577"/>
          <ac:spMkLst>
            <pc:docMk/>
            <pc:sldMk cId="1027013226" sldId="2145706917"/>
            <ac:spMk id="4" creationId="{6963AAA6-D54C-41CC-8A6F-1E1BB00CA185}"/>
          </ac:spMkLst>
        </pc:spChg>
      </pc:sldChg>
      <pc:sldChg chg="modSp mod">
        <pc:chgData name="Hannah Hampson" userId="81509245-5bd3-4028-9ded-7c4521882c8e" providerId="ADAL" clId="{6ECBCF3F-E071-402B-8191-90C2C433B13A}" dt="2021-08-25T14:52:08.777" v="644" actId="20577"/>
        <pc:sldMkLst>
          <pc:docMk/>
          <pc:sldMk cId="2554199065" sldId="2145706921"/>
        </pc:sldMkLst>
        <pc:spChg chg="mod">
          <ac:chgData name="Hannah Hampson" userId="81509245-5bd3-4028-9ded-7c4521882c8e" providerId="ADAL" clId="{6ECBCF3F-E071-402B-8191-90C2C433B13A}" dt="2021-08-25T14:52:08.777" v="644" actId="20577"/>
          <ac:spMkLst>
            <pc:docMk/>
            <pc:sldMk cId="2554199065" sldId="2145706921"/>
            <ac:spMk id="2" creationId="{3C7BF3A1-27FA-424E-8626-245029F946E5}"/>
          </ac:spMkLst>
        </pc:spChg>
      </pc:sldChg>
      <pc:sldChg chg="modSp mod">
        <pc:chgData name="Hannah Hampson" userId="81509245-5bd3-4028-9ded-7c4521882c8e" providerId="ADAL" clId="{6ECBCF3F-E071-402B-8191-90C2C433B13A}" dt="2021-08-25T14:43:18.892" v="2" actId="1076"/>
        <pc:sldMkLst>
          <pc:docMk/>
          <pc:sldMk cId="1588617075" sldId="2145706924"/>
        </pc:sldMkLst>
        <pc:spChg chg="mod">
          <ac:chgData name="Hannah Hampson" userId="81509245-5bd3-4028-9ded-7c4521882c8e" providerId="ADAL" clId="{6ECBCF3F-E071-402B-8191-90C2C433B13A}" dt="2021-08-25T14:43:18.892" v="2" actId="1076"/>
          <ac:spMkLst>
            <pc:docMk/>
            <pc:sldMk cId="1588617075" sldId="2145706924"/>
            <ac:spMk id="2" creationId="{2CDA7457-805B-4976-B8AD-602FAF1BDCBC}"/>
          </ac:spMkLst>
        </pc:spChg>
      </pc:sldChg>
      <pc:sldChg chg="addSp modSp add mod">
        <pc:chgData name="Hannah Hampson" userId="81509245-5bd3-4028-9ded-7c4521882c8e" providerId="ADAL" clId="{6ECBCF3F-E071-402B-8191-90C2C433B13A}" dt="2021-08-25T14:55:26.240" v="660"/>
        <pc:sldMkLst>
          <pc:docMk/>
          <pc:sldMk cId="3474033502" sldId="2145706928"/>
        </pc:sldMkLst>
        <pc:spChg chg="mod">
          <ac:chgData name="Hannah Hampson" userId="81509245-5bd3-4028-9ded-7c4521882c8e" providerId="ADAL" clId="{6ECBCF3F-E071-402B-8191-90C2C433B13A}" dt="2021-08-25T14:46:38.740" v="286" actId="20577"/>
          <ac:spMkLst>
            <pc:docMk/>
            <pc:sldMk cId="3474033502" sldId="2145706928"/>
            <ac:spMk id="2" creationId="{3C7BF3A1-27FA-424E-8626-245029F946E5}"/>
          </ac:spMkLst>
        </pc:spChg>
        <pc:spChg chg="add mod">
          <ac:chgData name="Hannah Hampson" userId="81509245-5bd3-4028-9ded-7c4521882c8e" providerId="ADAL" clId="{6ECBCF3F-E071-402B-8191-90C2C433B13A}" dt="2021-08-25T14:55:26.240" v="660"/>
          <ac:spMkLst>
            <pc:docMk/>
            <pc:sldMk cId="3474033502" sldId="2145706928"/>
            <ac:spMk id="4" creationId="{D5B55918-1248-4ABB-9D04-3BA89C6FEAB2}"/>
          </ac:spMkLst>
        </pc:spChg>
      </pc:sldChg>
      <pc:sldChg chg="modSp add mod">
        <pc:chgData name="Hannah Hampson" userId="81509245-5bd3-4028-9ded-7c4521882c8e" providerId="ADAL" clId="{6ECBCF3F-E071-402B-8191-90C2C433B13A}" dt="2021-08-25T14:47:10.331" v="384" actId="14100"/>
        <pc:sldMkLst>
          <pc:docMk/>
          <pc:sldMk cId="2313363995" sldId="2145706929"/>
        </pc:sldMkLst>
        <pc:spChg chg="mod">
          <ac:chgData name="Hannah Hampson" userId="81509245-5bd3-4028-9ded-7c4521882c8e" providerId="ADAL" clId="{6ECBCF3F-E071-402B-8191-90C2C433B13A}" dt="2021-08-25T14:47:10.331" v="384" actId="14100"/>
          <ac:spMkLst>
            <pc:docMk/>
            <pc:sldMk cId="2313363995" sldId="2145706929"/>
            <ac:spMk id="2" creationId="{3C7BF3A1-27FA-424E-8626-245029F946E5}"/>
          </ac:spMkLst>
        </pc:spChg>
      </pc:sldChg>
    </pc:docChg>
  </pc:docChgLst>
  <pc:docChgLst>
    <pc:chgData name="Rebecca Campbell" userId="0efb6aae-b05c-4d89-ad2b-c4a810a588ac" providerId="ADAL" clId="{9ADA07AD-CB9B-4C4C-B8D3-A0F6DF6D1497}"/>
    <pc:docChg chg="modSld">
      <pc:chgData name="Rebecca Campbell" userId="0efb6aae-b05c-4d89-ad2b-c4a810a588ac" providerId="ADAL" clId="{9ADA07AD-CB9B-4C4C-B8D3-A0F6DF6D1497}" dt="2021-08-20T14:11:37.916" v="3" actId="20577"/>
      <pc:docMkLst>
        <pc:docMk/>
      </pc:docMkLst>
      <pc:sldChg chg="modSp mod">
        <pc:chgData name="Rebecca Campbell" userId="0efb6aae-b05c-4d89-ad2b-c4a810a588ac" providerId="ADAL" clId="{9ADA07AD-CB9B-4C4C-B8D3-A0F6DF6D1497}" dt="2021-08-20T14:11:37.916" v="3" actId="20577"/>
        <pc:sldMkLst>
          <pc:docMk/>
          <pc:sldMk cId="622130226" sldId="2145706907"/>
        </pc:sldMkLst>
        <pc:spChg chg="mod">
          <ac:chgData name="Rebecca Campbell" userId="0efb6aae-b05c-4d89-ad2b-c4a810a588ac" providerId="ADAL" clId="{9ADA07AD-CB9B-4C4C-B8D3-A0F6DF6D1497}" dt="2021-08-20T14:11:37.916" v="3" actId="20577"/>
          <ac:spMkLst>
            <pc:docMk/>
            <pc:sldMk cId="622130226" sldId="2145706907"/>
            <ac:spMk id="4" creationId="{FBD5F4F9-C7C5-4F75-8248-5BC91D597CC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D15B92-65E1-4334-BB6D-F279FBB55C1F}" type="doc">
      <dgm:prSet loTypeId="urn:microsoft.com/office/officeart/2005/8/layout/pyramid4" loCatId="pyramid" qsTypeId="urn:microsoft.com/office/officeart/2005/8/quickstyle/3d3" qsCatId="3D" csTypeId="urn:microsoft.com/office/officeart/2005/8/colors/accent1_2" csCatId="accent1" phldr="1"/>
      <dgm:spPr/>
      <dgm:t>
        <a:bodyPr/>
        <a:lstStyle/>
        <a:p>
          <a:endParaRPr lang="en-GB"/>
        </a:p>
      </dgm:t>
    </dgm:pt>
    <dgm:pt modelId="{3D72AF8A-DEF5-495E-86EA-1F9D5933B7F3}">
      <dgm:prSet phldrT="[Text]"/>
      <dgm:spPr/>
      <dgm:t>
        <a:bodyPr/>
        <a:lstStyle/>
        <a:p>
          <a:r>
            <a:rPr lang="en-GB" dirty="0"/>
            <a:t>Beneficial Changes Network </a:t>
          </a:r>
        </a:p>
      </dgm:t>
    </dgm:pt>
    <dgm:pt modelId="{E8D91424-7B70-44E6-8B76-482A1D333503}" type="parTrans" cxnId="{FCC17214-F06C-44E2-98A7-79F3C64061FF}">
      <dgm:prSet/>
      <dgm:spPr/>
      <dgm:t>
        <a:bodyPr/>
        <a:lstStyle/>
        <a:p>
          <a:endParaRPr lang="en-GB"/>
        </a:p>
      </dgm:t>
    </dgm:pt>
    <dgm:pt modelId="{AE43A76D-739B-466E-959A-21CB14C0779A}" type="sibTrans" cxnId="{FCC17214-F06C-44E2-98A7-79F3C64061FF}">
      <dgm:prSet/>
      <dgm:spPr/>
      <dgm:t>
        <a:bodyPr/>
        <a:lstStyle/>
        <a:p>
          <a:endParaRPr lang="en-GB"/>
        </a:p>
      </dgm:t>
    </dgm:pt>
    <dgm:pt modelId="{6A5A3B64-472B-405B-BCFF-F6440BD5EAEA}">
      <dgm:prSet phldrT="[Text]"/>
      <dgm:spPr/>
      <dgm:t>
        <a:bodyPr/>
        <a:lstStyle/>
        <a:p>
          <a:r>
            <a:rPr lang="en-GB"/>
            <a:t>RightCare </a:t>
          </a:r>
        </a:p>
      </dgm:t>
    </dgm:pt>
    <dgm:pt modelId="{3CD37A63-D094-4C92-BA90-4166BCBEAB07}" type="parTrans" cxnId="{6597D161-BB93-4719-B7C5-ED0FF59C7CC9}">
      <dgm:prSet/>
      <dgm:spPr/>
      <dgm:t>
        <a:bodyPr/>
        <a:lstStyle/>
        <a:p>
          <a:endParaRPr lang="en-GB"/>
        </a:p>
      </dgm:t>
    </dgm:pt>
    <dgm:pt modelId="{F5021925-4F6B-46FA-A4E3-301C0D810AA0}" type="sibTrans" cxnId="{6597D161-BB93-4719-B7C5-ED0FF59C7CC9}">
      <dgm:prSet/>
      <dgm:spPr/>
      <dgm:t>
        <a:bodyPr/>
        <a:lstStyle/>
        <a:p>
          <a:endParaRPr lang="en-GB"/>
        </a:p>
      </dgm:t>
    </dgm:pt>
    <dgm:pt modelId="{85ACF1E4-1838-4F4B-9830-BB3AEAADB5EA}">
      <dgm:prSet phldrT="[Text]" custT="1"/>
      <dgm:spPr/>
      <dgm:t>
        <a:bodyPr/>
        <a:lstStyle/>
        <a:p>
          <a:r>
            <a:rPr lang="en-GB" sz="1200" b="1" dirty="0"/>
            <a:t>Clinical Improvement </a:t>
          </a:r>
        </a:p>
      </dgm:t>
    </dgm:pt>
    <dgm:pt modelId="{9A31A9FB-2063-482C-A5C8-D5ABBC03F88F}" type="parTrans" cxnId="{68669E1E-91C5-4AED-A325-47CA0953AE09}">
      <dgm:prSet/>
      <dgm:spPr/>
      <dgm:t>
        <a:bodyPr/>
        <a:lstStyle/>
        <a:p>
          <a:endParaRPr lang="en-GB"/>
        </a:p>
      </dgm:t>
    </dgm:pt>
    <dgm:pt modelId="{97058F74-2F17-4858-BCEC-1EB8F0D2DD1D}" type="sibTrans" cxnId="{68669E1E-91C5-4AED-A325-47CA0953AE09}">
      <dgm:prSet/>
      <dgm:spPr/>
      <dgm:t>
        <a:bodyPr/>
        <a:lstStyle/>
        <a:p>
          <a:endParaRPr lang="en-GB"/>
        </a:p>
      </dgm:t>
    </dgm:pt>
    <dgm:pt modelId="{3B05D7DD-40DC-4B53-88CA-28FA3DAE0E13}">
      <dgm:prSet phldrT="[Text]"/>
      <dgm:spPr/>
      <dgm:t>
        <a:bodyPr/>
        <a:lstStyle/>
        <a:p>
          <a:r>
            <a:rPr lang="en-GB"/>
            <a:t> Clinical Audit  </a:t>
          </a:r>
        </a:p>
      </dgm:t>
    </dgm:pt>
    <dgm:pt modelId="{00A63C4A-A1F6-4DC0-B6FA-ABCAD47F404A}" type="parTrans" cxnId="{ABBAB805-2CEE-44B8-A5D2-ADCFB08FDE8D}">
      <dgm:prSet/>
      <dgm:spPr/>
      <dgm:t>
        <a:bodyPr/>
        <a:lstStyle/>
        <a:p>
          <a:endParaRPr lang="en-GB"/>
        </a:p>
      </dgm:t>
    </dgm:pt>
    <dgm:pt modelId="{3CD67713-042A-42DF-93B0-06CEC1D27E56}" type="sibTrans" cxnId="{ABBAB805-2CEE-44B8-A5D2-ADCFB08FDE8D}">
      <dgm:prSet/>
      <dgm:spPr/>
      <dgm:t>
        <a:bodyPr/>
        <a:lstStyle/>
        <a:p>
          <a:endParaRPr lang="en-GB"/>
        </a:p>
      </dgm:t>
    </dgm:pt>
    <dgm:pt modelId="{1B338206-2C95-4057-8F48-563AF5E8B1BD}">
      <dgm:prSet phldrT="[Text]"/>
      <dgm:spPr/>
      <dgm:t>
        <a:bodyPr/>
        <a:lstStyle/>
        <a:p>
          <a:r>
            <a:rPr lang="en-GB" dirty="0"/>
            <a:t>Coproduction </a:t>
          </a:r>
        </a:p>
      </dgm:t>
    </dgm:pt>
    <dgm:pt modelId="{63B873AA-77F8-415F-B38D-7C09902D5656}" type="parTrans" cxnId="{36E05C3C-A110-4D81-9B0C-5F511D8A4EDD}">
      <dgm:prSet/>
      <dgm:spPr/>
      <dgm:t>
        <a:bodyPr/>
        <a:lstStyle/>
        <a:p>
          <a:endParaRPr lang="en-GB"/>
        </a:p>
      </dgm:t>
    </dgm:pt>
    <dgm:pt modelId="{686D8B1A-73A2-4C17-BDFC-D477F0C401C7}" type="sibTrans" cxnId="{36E05C3C-A110-4D81-9B0C-5F511D8A4EDD}">
      <dgm:prSet/>
      <dgm:spPr/>
      <dgm:t>
        <a:bodyPr/>
        <a:lstStyle/>
        <a:p>
          <a:endParaRPr lang="en-GB"/>
        </a:p>
      </dgm:t>
    </dgm:pt>
    <dgm:pt modelId="{7EDC40FE-3EAA-4FDA-8CE7-C26E492F1D60}" type="pres">
      <dgm:prSet presAssocID="{F3D15B92-65E1-4334-BB6D-F279FBB55C1F}" presName="compositeShape" presStyleCnt="0">
        <dgm:presLayoutVars>
          <dgm:chMax val="9"/>
          <dgm:dir/>
          <dgm:resizeHandles val="exact"/>
        </dgm:presLayoutVars>
      </dgm:prSet>
      <dgm:spPr/>
    </dgm:pt>
    <dgm:pt modelId="{B00E75B8-9067-4872-A3B0-6B82C9B592B0}" type="pres">
      <dgm:prSet presAssocID="{F3D15B92-65E1-4334-BB6D-F279FBB55C1F}" presName="triangle1" presStyleLbl="node1" presStyleIdx="0" presStyleCnt="9">
        <dgm:presLayoutVars>
          <dgm:bulletEnabled val="1"/>
        </dgm:presLayoutVars>
      </dgm:prSet>
      <dgm:spPr/>
    </dgm:pt>
    <dgm:pt modelId="{DFF9B48A-95EF-4E4E-BB73-356DDECDB828}" type="pres">
      <dgm:prSet presAssocID="{F3D15B92-65E1-4334-BB6D-F279FBB55C1F}" presName="triangle2" presStyleLbl="node1" presStyleIdx="1" presStyleCnt="9">
        <dgm:presLayoutVars>
          <dgm:bulletEnabled val="1"/>
        </dgm:presLayoutVars>
      </dgm:prSet>
      <dgm:spPr/>
    </dgm:pt>
    <dgm:pt modelId="{41B93828-23B3-4306-95E0-1F7D3087F475}" type="pres">
      <dgm:prSet presAssocID="{F3D15B92-65E1-4334-BB6D-F279FBB55C1F}" presName="triangle3" presStyleLbl="node1" presStyleIdx="2" presStyleCnt="9" custLinFactNeighborX="-1329" custLinFactNeighborY="4043">
        <dgm:presLayoutVars>
          <dgm:bulletEnabled val="1"/>
        </dgm:presLayoutVars>
      </dgm:prSet>
      <dgm:spPr/>
    </dgm:pt>
    <dgm:pt modelId="{60AC06F2-FF8B-4BA8-BF58-99282BB04254}" type="pres">
      <dgm:prSet presAssocID="{F3D15B92-65E1-4334-BB6D-F279FBB55C1F}" presName="triangle4" presStyleLbl="node1" presStyleIdx="3" presStyleCnt="9">
        <dgm:presLayoutVars>
          <dgm:bulletEnabled val="1"/>
        </dgm:presLayoutVars>
      </dgm:prSet>
      <dgm:spPr/>
    </dgm:pt>
    <dgm:pt modelId="{6FF8095F-4823-4DF1-BEE5-219AB9719753}" type="pres">
      <dgm:prSet presAssocID="{F3D15B92-65E1-4334-BB6D-F279FBB55C1F}" presName="triangle5" presStyleLbl="node1" presStyleIdx="4" presStyleCnt="9" custLinFactNeighborX="-1329" custLinFactNeighborY="4043">
        <dgm:presLayoutVars>
          <dgm:bulletEnabled val="1"/>
        </dgm:presLayoutVars>
      </dgm:prSet>
      <dgm:spPr/>
    </dgm:pt>
    <dgm:pt modelId="{4715B6C4-18F9-4A38-916D-049638AE46BB}" type="pres">
      <dgm:prSet presAssocID="{F3D15B92-65E1-4334-BB6D-F279FBB55C1F}" presName="triangle6" presStyleLbl="node1" presStyleIdx="5" presStyleCnt="9">
        <dgm:presLayoutVars>
          <dgm:bulletEnabled val="1"/>
        </dgm:presLayoutVars>
      </dgm:prSet>
      <dgm:spPr/>
    </dgm:pt>
    <dgm:pt modelId="{B8788FBE-07DD-46C8-8C07-FEFA2CFFCA75}" type="pres">
      <dgm:prSet presAssocID="{F3D15B92-65E1-4334-BB6D-F279FBB55C1F}" presName="triangle7" presStyleLbl="node1" presStyleIdx="6" presStyleCnt="9">
        <dgm:presLayoutVars>
          <dgm:bulletEnabled val="1"/>
        </dgm:presLayoutVars>
      </dgm:prSet>
      <dgm:spPr/>
    </dgm:pt>
    <dgm:pt modelId="{04510A5E-D51E-4BA3-ADF6-BC138FBA8AB0}" type="pres">
      <dgm:prSet presAssocID="{F3D15B92-65E1-4334-BB6D-F279FBB55C1F}" presName="triangle8" presStyleLbl="node1" presStyleIdx="7" presStyleCnt="9">
        <dgm:presLayoutVars>
          <dgm:bulletEnabled val="1"/>
        </dgm:presLayoutVars>
      </dgm:prSet>
      <dgm:spPr/>
    </dgm:pt>
    <dgm:pt modelId="{95F2BAD8-2322-4DFA-9274-04D5E53EC1D3}" type="pres">
      <dgm:prSet presAssocID="{F3D15B92-65E1-4334-BB6D-F279FBB55C1F}" presName="triangle9" presStyleLbl="node1" presStyleIdx="8" presStyleCnt="9">
        <dgm:presLayoutVars>
          <dgm:bulletEnabled val="1"/>
        </dgm:presLayoutVars>
      </dgm:prSet>
      <dgm:spPr/>
    </dgm:pt>
  </dgm:ptLst>
  <dgm:cxnLst>
    <dgm:cxn modelId="{ABBAB805-2CEE-44B8-A5D2-ADCFB08FDE8D}" srcId="{F3D15B92-65E1-4334-BB6D-F279FBB55C1F}" destId="{3B05D7DD-40DC-4B53-88CA-28FA3DAE0E13}" srcOrd="3" destOrd="0" parTransId="{00A63C4A-A1F6-4DC0-B6FA-ABCAD47F404A}" sibTransId="{3CD67713-042A-42DF-93B0-06CEC1D27E56}"/>
    <dgm:cxn modelId="{FCC17214-F06C-44E2-98A7-79F3C64061FF}" srcId="{F3D15B92-65E1-4334-BB6D-F279FBB55C1F}" destId="{3D72AF8A-DEF5-495E-86EA-1F9D5933B7F3}" srcOrd="0" destOrd="0" parTransId="{E8D91424-7B70-44E6-8B76-482A1D333503}" sibTransId="{AE43A76D-739B-466E-959A-21CB14C0779A}"/>
    <dgm:cxn modelId="{68669E1E-91C5-4AED-A325-47CA0953AE09}" srcId="{F3D15B92-65E1-4334-BB6D-F279FBB55C1F}" destId="{85ACF1E4-1838-4F4B-9830-BB3AEAADB5EA}" srcOrd="2" destOrd="0" parTransId="{9A31A9FB-2063-482C-A5C8-D5ABBC03F88F}" sibTransId="{97058F74-2F17-4858-BCEC-1EB8F0D2DD1D}"/>
    <dgm:cxn modelId="{EF986428-337E-407B-973E-319877642460}" type="presOf" srcId="{F3D15B92-65E1-4334-BB6D-F279FBB55C1F}" destId="{7EDC40FE-3EAA-4FDA-8CE7-C26E492F1D60}" srcOrd="0" destOrd="0" presId="urn:microsoft.com/office/officeart/2005/8/layout/pyramid4"/>
    <dgm:cxn modelId="{36E05C3C-A110-4D81-9B0C-5F511D8A4EDD}" srcId="{F3D15B92-65E1-4334-BB6D-F279FBB55C1F}" destId="{1B338206-2C95-4057-8F48-563AF5E8B1BD}" srcOrd="4" destOrd="0" parTransId="{63B873AA-77F8-415F-B38D-7C09902D5656}" sibTransId="{686D8B1A-73A2-4C17-BDFC-D477F0C401C7}"/>
    <dgm:cxn modelId="{6597D161-BB93-4719-B7C5-ED0FF59C7CC9}" srcId="{F3D15B92-65E1-4334-BB6D-F279FBB55C1F}" destId="{6A5A3B64-472B-405B-BCFF-F6440BD5EAEA}" srcOrd="1" destOrd="0" parTransId="{3CD37A63-D094-4C92-BA90-4166BCBEAB07}" sibTransId="{F5021925-4F6B-46FA-A4E3-301C0D810AA0}"/>
    <dgm:cxn modelId="{E6A0057B-A80A-44F3-A1EB-48833F2127DB}" type="presOf" srcId="{1B338206-2C95-4057-8F48-563AF5E8B1BD}" destId="{6FF8095F-4823-4DF1-BEE5-219AB9719753}" srcOrd="0" destOrd="0" presId="urn:microsoft.com/office/officeart/2005/8/layout/pyramid4"/>
    <dgm:cxn modelId="{96816A91-877F-4750-B69D-8F161B526DA9}" type="presOf" srcId="{3D72AF8A-DEF5-495E-86EA-1F9D5933B7F3}" destId="{B00E75B8-9067-4872-A3B0-6B82C9B592B0}" srcOrd="0" destOrd="0" presId="urn:microsoft.com/office/officeart/2005/8/layout/pyramid4"/>
    <dgm:cxn modelId="{1F759EA0-9686-4011-9736-739D001428EC}" type="presOf" srcId="{3B05D7DD-40DC-4B53-88CA-28FA3DAE0E13}" destId="{60AC06F2-FF8B-4BA8-BF58-99282BB04254}" srcOrd="0" destOrd="0" presId="urn:microsoft.com/office/officeart/2005/8/layout/pyramid4"/>
    <dgm:cxn modelId="{0B2C9CA1-A22C-447F-87A9-1A0B9196993A}" type="presOf" srcId="{6A5A3B64-472B-405B-BCFF-F6440BD5EAEA}" destId="{DFF9B48A-95EF-4E4E-BB73-356DDECDB828}" srcOrd="0" destOrd="0" presId="urn:microsoft.com/office/officeart/2005/8/layout/pyramid4"/>
    <dgm:cxn modelId="{8168E1FD-C122-49E7-A802-E66799B97A0D}" type="presOf" srcId="{85ACF1E4-1838-4F4B-9830-BB3AEAADB5EA}" destId="{41B93828-23B3-4306-95E0-1F7D3087F475}" srcOrd="0" destOrd="0" presId="urn:microsoft.com/office/officeart/2005/8/layout/pyramid4"/>
    <dgm:cxn modelId="{840F1301-635B-400E-BB29-BDB3E5C882DE}" type="presParOf" srcId="{7EDC40FE-3EAA-4FDA-8CE7-C26E492F1D60}" destId="{B00E75B8-9067-4872-A3B0-6B82C9B592B0}" srcOrd="0" destOrd="0" presId="urn:microsoft.com/office/officeart/2005/8/layout/pyramid4"/>
    <dgm:cxn modelId="{BE987004-E464-46AA-B69F-A1768AE5390F}" type="presParOf" srcId="{7EDC40FE-3EAA-4FDA-8CE7-C26E492F1D60}" destId="{DFF9B48A-95EF-4E4E-BB73-356DDECDB828}" srcOrd="1" destOrd="0" presId="urn:microsoft.com/office/officeart/2005/8/layout/pyramid4"/>
    <dgm:cxn modelId="{C97A8343-0AF8-42F6-B208-1938FBFEAED2}" type="presParOf" srcId="{7EDC40FE-3EAA-4FDA-8CE7-C26E492F1D60}" destId="{41B93828-23B3-4306-95E0-1F7D3087F475}" srcOrd="2" destOrd="0" presId="urn:microsoft.com/office/officeart/2005/8/layout/pyramid4"/>
    <dgm:cxn modelId="{3EF55E07-D74E-4EB2-BCF9-0ABA4D729DE8}" type="presParOf" srcId="{7EDC40FE-3EAA-4FDA-8CE7-C26E492F1D60}" destId="{60AC06F2-FF8B-4BA8-BF58-99282BB04254}" srcOrd="3" destOrd="0" presId="urn:microsoft.com/office/officeart/2005/8/layout/pyramid4"/>
    <dgm:cxn modelId="{370691CB-5ACF-41A3-B8AD-9109CAE4D930}" type="presParOf" srcId="{7EDC40FE-3EAA-4FDA-8CE7-C26E492F1D60}" destId="{6FF8095F-4823-4DF1-BEE5-219AB9719753}" srcOrd="4" destOrd="0" presId="urn:microsoft.com/office/officeart/2005/8/layout/pyramid4"/>
    <dgm:cxn modelId="{5861A8AF-DB59-429B-A59C-0722B417079C}" type="presParOf" srcId="{7EDC40FE-3EAA-4FDA-8CE7-C26E492F1D60}" destId="{4715B6C4-18F9-4A38-916D-049638AE46BB}" srcOrd="5" destOrd="0" presId="urn:microsoft.com/office/officeart/2005/8/layout/pyramid4"/>
    <dgm:cxn modelId="{EB23B18E-239C-487F-AA79-086BBE0D12A2}" type="presParOf" srcId="{7EDC40FE-3EAA-4FDA-8CE7-C26E492F1D60}" destId="{B8788FBE-07DD-46C8-8C07-FEFA2CFFCA75}" srcOrd="6" destOrd="0" presId="urn:microsoft.com/office/officeart/2005/8/layout/pyramid4"/>
    <dgm:cxn modelId="{005E3106-A251-48EF-9461-1F7DB5D125F8}" type="presParOf" srcId="{7EDC40FE-3EAA-4FDA-8CE7-C26E492F1D60}" destId="{04510A5E-D51E-4BA3-ADF6-BC138FBA8AB0}" srcOrd="7" destOrd="0" presId="urn:microsoft.com/office/officeart/2005/8/layout/pyramid4"/>
    <dgm:cxn modelId="{633FBF2F-698D-4719-A893-9506B18C2FBC}" type="presParOf" srcId="{7EDC40FE-3EAA-4FDA-8CE7-C26E492F1D60}" destId="{95F2BAD8-2322-4DFA-9274-04D5E53EC1D3}" srcOrd="8" destOrd="0" presId="urn:microsoft.com/office/officeart/2005/8/layout/pyramid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E651AE-96B4-408B-9687-ABADE1CA3C0B}"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GB"/>
        </a:p>
      </dgm:t>
    </dgm:pt>
    <dgm:pt modelId="{CEAA1CE4-F56D-4A22-AA79-E1AD426C4C5A}">
      <dgm:prSet phldrT="[Text]" custT="1"/>
      <dgm:spPr>
        <a:solidFill>
          <a:srgbClr val="CCA11B"/>
        </a:solidFill>
      </dgm:spPr>
      <dgm:t>
        <a:bodyPr/>
        <a:lstStyle/>
        <a:p>
          <a:r>
            <a:rPr lang="en-GB" sz="2400" dirty="0"/>
            <a:t>National Clinical Audit</a:t>
          </a:r>
        </a:p>
      </dgm:t>
    </dgm:pt>
    <dgm:pt modelId="{76641280-BB1A-4CA4-B35C-FA2E5EF26EEE}" type="parTrans" cxnId="{C3A36D1F-794C-4708-8A1F-82BEEE96D8D2}">
      <dgm:prSet/>
      <dgm:spPr/>
      <dgm:t>
        <a:bodyPr/>
        <a:lstStyle/>
        <a:p>
          <a:endParaRPr lang="en-GB"/>
        </a:p>
      </dgm:t>
    </dgm:pt>
    <dgm:pt modelId="{3C879C61-C5EC-42E0-A30B-AEAF8290759B}" type="sibTrans" cxnId="{C3A36D1F-794C-4708-8A1F-82BEEE96D8D2}">
      <dgm:prSet/>
      <dgm:spPr/>
      <dgm:t>
        <a:bodyPr/>
        <a:lstStyle/>
        <a:p>
          <a:endParaRPr lang="en-GB"/>
        </a:p>
      </dgm:t>
    </dgm:pt>
    <dgm:pt modelId="{6D1C4999-AD7C-4541-AB13-1E8BF74AF5EB}">
      <dgm:prSet phldrT="[Text]" custT="1"/>
      <dgm:spPr>
        <a:solidFill>
          <a:schemeClr val="accent4">
            <a:lumMod val="60000"/>
            <a:lumOff val="40000"/>
            <a:alpha val="59000"/>
          </a:schemeClr>
        </a:solidFill>
      </dgm:spPr>
      <dgm:t>
        <a:bodyPr/>
        <a:lstStyle/>
        <a:p>
          <a:r>
            <a:rPr lang="en-GB" sz="2000" dirty="0"/>
            <a:t>Effective clinical leadership</a:t>
          </a:r>
        </a:p>
      </dgm:t>
    </dgm:pt>
    <dgm:pt modelId="{5CCFE528-6C5D-4320-B3D4-0C33C03D7BE4}" type="parTrans" cxnId="{92FF266F-E79B-4C8D-989C-957C712F1CF6}">
      <dgm:prSet/>
      <dgm:spPr/>
      <dgm:t>
        <a:bodyPr/>
        <a:lstStyle/>
        <a:p>
          <a:endParaRPr lang="en-GB"/>
        </a:p>
      </dgm:t>
    </dgm:pt>
    <dgm:pt modelId="{07086FB8-0D7D-49F0-92EC-8ED8233D31F8}" type="sibTrans" cxnId="{92FF266F-E79B-4C8D-989C-957C712F1CF6}">
      <dgm:prSet/>
      <dgm:spPr/>
      <dgm:t>
        <a:bodyPr/>
        <a:lstStyle/>
        <a:p>
          <a:endParaRPr lang="en-GB"/>
        </a:p>
      </dgm:t>
    </dgm:pt>
    <dgm:pt modelId="{88DE58E0-90AB-4F13-9F7A-8ECF1B3C21EF}">
      <dgm:prSet phldrT="[Text]" custT="1"/>
      <dgm:spPr>
        <a:solidFill>
          <a:schemeClr val="accent3">
            <a:alpha val="60000"/>
          </a:schemeClr>
        </a:solidFill>
      </dgm:spPr>
      <dgm:t>
        <a:bodyPr/>
        <a:lstStyle/>
        <a:p>
          <a:r>
            <a:rPr lang="en-GB" sz="2000" dirty="0"/>
            <a:t>Minimal data burden /maximise linkage</a:t>
          </a:r>
        </a:p>
      </dgm:t>
    </dgm:pt>
    <dgm:pt modelId="{F95098EB-EAAE-491C-9B01-C91B3A0A814E}" type="parTrans" cxnId="{779C11CD-9909-4186-8B1C-11E8606C88EC}">
      <dgm:prSet/>
      <dgm:spPr/>
      <dgm:t>
        <a:bodyPr/>
        <a:lstStyle/>
        <a:p>
          <a:endParaRPr lang="en-GB"/>
        </a:p>
      </dgm:t>
    </dgm:pt>
    <dgm:pt modelId="{CDDCFA07-4D19-45D2-A6FB-4F285F22E736}" type="sibTrans" cxnId="{779C11CD-9909-4186-8B1C-11E8606C88EC}">
      <dgm:prSet/>
      <dgm:spPr/>
      <dgm:t>
        <a:bodyPr/>
        <a:lstStyle/>
        <a:p>
          <a:endParaRPr lang="en-GB"/>
        </a:p>
      </dgm:t>
    </dgm:pt>
    <dgm:pt modelId="{A0BBAD2D-263C-441B-8F95-2C89FBA370FB}">
      <dgm:prSet phldrT="[Text]" custT="1"/>
      <dgm:spPr>
        <a:solidFill>
          <a:schemeClr val="accent5">
            <a:lumMod val="60000"/>
            <a:lumOff val="40000"/>
            <a:alpha val="59000"/>
          </a:schemeClr>
        </a:solidFill>
      </dgm:spPr>
      <dgm:t>
        <a:bodyPr/>
        <a:lstStyle/>
        <a:p>
          <a:r>
            <a:rPr lang="en-GB" sz="2000" dirty="0"/>
            <a:t>Patient and public involvement and focus  </a:t>
          </a:r>
        </a:p>
      </dgm:t>
    </dgm:pt>
    <dgm:pt modelId="{44272B3A-C507-45D6-B5AA-8C63F57BBB00}" type="parTrans" cxnId="{16E8CD66-931F-45AF-AC5C-C08415AF6117}">
      <dgm:prSet/>
      <dgm:spPr/>
      <dgm:t>
        <a:bodyPr/>
        <a:lstStyle/>
        <a:p>
          <a:endParaRPr lang="en-GB"/>
        </a:p>
      </dgm:t>
    </dgm:pt>
    <dgm:pt modelId="{72016FD9-2734-4A95-ACE1-DF5BEF33DE68}" type="sibTrans" cxnId="{16E8CD66-931F-45AF-AC5C-C08415AF6117}">
      <dgm:prSet/>
      <dgm:spPr/>
      <dgm:t>
        <a:bodyPr/>
        <a:lstStyle/>
        <a:p>
          <a:endParaRPr lang="en-GB"/>
        </a:p>
      </dgm:t>
    </dgm:pt>
    <dgm:pt modelId="{25338551-8532-4681-A3A0-2395D53D95D3}">
      <dgm:prSet phldrT="[Text]" custT="1"/>
      <dgm:spPr>
        <a:solidFill>
          <a:schemeClr val="accent5">
            <a:lumMod val="60000"/>
            <a:lumOff val="40000"/>
            <a:alpha val="60000"/>
          </a:schemeClr>
        </a:solidFill>
      </dgm:spPr>
      <dgm:t>
        <a:bodyPr/>
        <a:lstStyle/>
        <a:p>
          <a:r>
            <a:rPr lang="en-GB" sz="2000" dirty="0"/>
            <a:t>Clear quality improvement intent</a:t>
          </a:r>
        </a:p>
      </dgm:t>
    </dgm:pt>
    <dgm:pt modelId="{D14F064C-9C50-4615-95FF-1D9FB28BF060}" type="parTrans" cxnId="{75C695E9-A772-461F-80FC-D39342FF5C27}">
      <dgm:prSet/>
      <dgm:spPr/>
      <dgm:t>
        <a:bodyPr/>
        <a:lstStyle/>
        <a:p>
          <a:endParaRPr lang="en-GB"/>
        </a:p>
      </dgm:t>
    </dgm:pt>
    <dgm:pt modelId="{087F014C-594C-4504-863E-F06B15C42E90}" type="sibTrans" cxnId="{75C695E9-A772-461F-80FC-D39342FF5C27}">
      <dgm:prSet/>
      <dgm:spPr/>
      <dgm:t>
        <a:bodyPr/>
        <a:lstStyle/>
        <a:p>
          <a:endParaRPr lang="en-GB"/>
        </a:p>
      </dgm:t>
    </dgm:pt>
    <dgm:pt modelId="{3EDD7976-6F2D-48B9-88A0-102E889EF194}">
      <dgm:prSet phldrT="[Text]" custT="1"/>
      <dgm:spPr>
        <a:solidFill>
          <a:schemeClr val="accent3">
            <a:alpha val="60000"/>
          </a:schemeClr>
        </a:solidFill>
      </dgm:spPr>
      <dgm:t>
        <a:bodyPr/>
        <a:lstStyle/>
        <a:p>
          <a:r>
            <a:rPr lang="en-GB" sz="2000" dirty="0"/>
            <a:t>Value for money</a:t>
          </a:r>
        </a:p>
      </dgm:t>
    </dgm:pt>
    <dgm:pt modelId="{3719F92E-29C9-476A-B636-E07A11C2F00C}" type="parTrans" cxnId="{9DB470C1-B2D5-45A2-AD48-F23E7C5BDC70}">
      <dgm:prSet/>
      <dgm:spPr/>
      <dgm:t>
        <a:bodyPr/>
        <a:lstStyle/>
        <a:p>
          <a:endParaRPr lang="en-GB"/>
        </a:p>
      </dgm:t>
    </dgm:pt>
    <dgm:pt modelId="{B053D0DC-E5F0-4FFC-85FD-929F8635918F}" type="sibTrans" cxnId="{9DB470C1-B2D5-45A2-AD48-F23E7C5BDC70}">
      <dgm:prSet/>
      <dgm:spPr/>
      <dgm:t>
        <a:bodyPr/>
        <a:lstStyle/>
        <a:p>
          <a:endParaRPr lang="en-GB"/>
        </a:p>
      </dgm:t>
    </dgm:pt>
    <dgm:pt modelId="{C33B8F46-A562-4521-AF54-583901233EB0}">
      <dgm:prSet phldrT="[Text]" custT="1"/>
      <dgm:spPr>
        <a:solidFill>
          <a:schemeClr val="accent3">
            <a:alpha val="59000"/>
          </a:schemeClr>
        </a:solidFill>
      </dgm:spPr>
      <dgm:t>
        <a:bodyPr/>
        <a:lstStyle/>
        <a:p>
          <a:r>
            <a:rPr lang="en-GB" sz="2000" dirty="0"/>
            <a:t>Tailored outputs</a:t>
          </a:r>
        </a:p>
      </dgm:t>
    </dgm:pt>
    <dgm:pt modelId="{193E0C15-F17F-44DD-B258-2C50D1031F02}" type="parTrans" cxnId="{DDBEBE93-1866-4224-9B47-0006517AE4EB}">
      <dgm:prSet/>
      <dgm:spPr/>
      <dgm:t>
        <a:bodyPr/>
        <a:lstStyle/>
        <a:p>
          <a:endParaRPr lang="en-GB"/>
        </a:p>
      </dgm:t>
    </dgm:pt>
    <dgm:pt modelId="{2B9C337D-4969-4775-B253-D1E7FF0791DB}" type="sibTrans" cxnId="{DDBEBE93-1866-4224-9B47-0006517AE4EB}">
      <dgm:prSet/>
      <dgm:spPr/>
      <dgm:t>
        <a:bodyPr/>
        <a:lstStyle/>
        <a:p>
          <a:endParaRPr lang="en-GB"/>
        </a:p>
      </dgm:t>
    </dgm:pt>
    <dgm:pt modelId="{9FBFADE0-80F3-4A6C-BF5D-51D8DDA174CC}">
      <dgm:prSet phldrT="[Text]" custT="1"/>
      <dgm:spPr>
        <a:solidFill>
          <a:schemeClr val="accent4">
            <a:lumMod val="60000"/>
            <a:lumOff val="40000"/>
            <a:alpha val="60000"/>
          </a:schemeClr>
        </a:solidFill>
      </dgm:spPr>
      <dgm:t>
        <a:bodyPr/>
        <a:lstStyle/>
        <a:p>
          <a:r>
            <a:rPr lang="en-GB" sz="2000" dirty="0"/>
            <a:t>Complete, high quality benchmarked  data</a:t>
          </a:r>
        </a:p>
      </dgm:t>
    </dgm:pt>
    <dgm:pt modelId="{5114305E-6E4C-48D6-9D10-9C14E2D8B7B0}" type="parTrans" cxnId="{F36500A0-C1ED-41BE-B874-96BA6510FE32}">
      <dgm:prSet/>
      <dgm:spPr/>
      <dgm:t>
        <a:bodyPr/>
        <a:lstStyle/>
        <a:p>
          <a:endParaRPr lang="en-GB"/>
        </a:p>
      </dgm:t>
    </dgm:pt>
    <dgm:pt modelId="{4C321AA3-403B-440C-869E-8CB47DEDD8B1}" type="sibTrans" cxnId="{F36500A0-C1ED-41BE-B874-96BA6510FE32}">
      <dgm:prSet/>
      <dgm:spPr/>
      <dgm:t>
        <a:bodyPr/>
        <a:lstStyle/>
        <a:p>
          <a:endParaRPr lang="en-GB"/>
        </a:p>
      </dgm:t>
    </dgm:pt>
    <dgm:pt modelId="{2387E394-8480-40A6-BB63-DA356E7D8AFF}">
      <dgm:prSet phldrT="[Text]" custT="1"/>
      <dgm:spPr>
        <a:solidFill>
          <a:schemeClr val="accent4">
            <a:lumMod val="60000"/>
            <a:lumOff val="40000"/>
            <a:alpha val="59000"/>
          </a:schemeClr>
        </a:solidFill>
      </dgm:spPr>
      <dgm:t>
        <a:bodyPr/>
        <a:lstStyle/>
        <a:p>
          <a:r>
            <a:rPr lang="en-GB" sz="2000" dirty="0"/>
            <a:t>Alignment with system and health priorities</a:t>
          </a:r>
        </a:p>
      </dgm:t>
    </dgm:pt>
    <dgm:pt modelId="{099126A2-71A8-415E-A8EE-A098920619FA}" type="parTrans" cxnId="{C770FC76-639A-4316-BF6B-A6D79A1E1F3A}">
      <dgm:prSet/>
      <dgm:spPr/>
      <dgm:t>
        <a:bodyPr/>
        <a:lstStyle/>
        <a:p>
          <a:endParaRPr lang="en-GB"/>
        </a:p>
      </dgm:t>
    </dgm:pt>
    <dgm:pt modelId="{12A03EDE-5D09-405F-A0D5-704D74318788}" type="sibTrans" cxnId="{C770FC76-639A-4316-BF6B-A6D79A1E1F3A}">
      <dgm:prSet/>
      <dgm:spPr/>
      <dgm:t>
        <a:bodyPr/>
        <a:lstStyle/>
        <a:p>
          <a:endParaRPr lang="en-GB"/>
        </a:p>
      </dgm:t>
    </dgm:pt>
    <dgm:pt modelId="{E939E131-48FB-4E03-B6F8-49F53B030183}">
      <dgm:prSet phldrT="[Text]" custT="1"/>
      <dgm:spPr>
        <a:solidFill>
          <a:schemeClr val="accent4">
            <a:alpha val="56000"/>
          </a:schemeClr>
        </a:solidFill>
      </dgm:spPr>
      <dgm:t>
        <a:bodyPr/>
        <a:lstStyle/>
        <a:p>
          <a:r>
            <a:rPr lang="en-GB" sz="2000" dirty="0"/>
            <a:t>Robust methodology</a:t>
          </a:r>
        </a:p>
      </dgm:t>
    </dgm:pt>
    <dgm:pt modelId="{9A24825B-953A-4A7C-889D-DAB263E50756}" type="parTrans" cxnId="{FFCD92F4-E6CC-45ED-8738-99482ED0DED1}">
      <dgm:prSet/>
      <dgm:spPr/>
      <dgm:t>
        <a:bodyPr/>
        <a:lstStyle/>
        <a:p>
          <a:endParaRPr lang="en-GB"/>
        </a:p>
      </dgm:t>
    </dgm:pt>
    <dgm:pt modelId="{7379C0FB-1C45-4190-96DE-DAC0DB5788FB}" type="sibTrans" cxnId="{FFCD92F4-E6CC-45ED-8738-99482ED0DED1}">
      <dgm:prSet/>
      <dgm:spPr/>
      <dgm:t>
        <a:bodyPr/>
        <a:lstStyle/>
        <a:p>
          <a:endParaRPr lang="en-GB"/>
        </a:p>
      </dgm:t>
    </dgm:pt>
    <dgm:pt modelId="{08FB9558-E8FF-4906-BBDB-B86375AD4E07}" type="pres">
      <dgm:prSet presAssocID="{55E651AE-96B4-408B-9687-ABADE1CA3C0B}" presName="composite" presStyleCnt="0">
        <dgm:presLayoutVars>
          <dgm:chMax val="1"/>
          <dgm:dir/>
          <dgm:resizeHandles val="exact"/>
        </dgm:presLayoutVars>
      </dgm:prSet>
      <dgm:spPr/>
    </dgm:pt>
    <dgm:pt modelId="{5E48755F-BDCF-49C3-AA46-92ED4D398123}" type="pres">
      <dgm:prSet presAssocID="{55E651AE-96B4-408B-9687-ABADE1CA3C0B}" presName="radial" presStyleCnt="0">
        <dgm:presLayoutVars>
          <dgm:animLvl val="ctr"/>
        </dgm:presLayoutVars>
      </dgm:prSet>
      <dgm:spPr/>
    </dgm:pt>
    <dgm:pt modelId="{06816E64-4D2F-46C1-B51B-A3D5541A2915}" type="pres">
      <dgm:prSet presAssocID="{CEAA1CE4-F56D-4A22-AA79-E1AD426C4C5A}" presName="centerShape" presStyleLbl="vennNode1" presStyleIdx="0" presStyleCnt="10"/>
      <dgm:spPr/>
    </dgm:pt>
    <dgm:pt modelId="{6477721D-1FDE-4B14-AA01-33322FCE773E}" type="pres">
      <dgm:prSet presAssocID="{6D1C4999-AD7C-4541-AB13-1E8BF74AF5EB}" presName="node" presStyleLbl="vennNode1" presStyleIdx="1" presStyleCnt="10" custScaleX="178470" custScaleY="71923" custRadScaleRad="102437" custRadScaleInc="4105">
        <dgm:presLayoutVars>
          <dgm:bulletEnabled val="1"/>
        </dgm:presLayoutVars>
      </dgm:prSet>
      <dgm:spPr/>
    </dgm:pt>
    <dgm:pt modelId="{7263A1B1-261E-475E-8644-18DEDB892AE1}" type="pres">
      <dgm:prSet presAssocID="{88DE58E0-90AB-4F13-9F7A-8ECF1B3C21EF}" presName="node" presStyleLbl="vennNode1" presStyleIdx="2" presStyleCnt="10" custScaleX="286908" custScaleY="78136" custRadScaleRad="158349" custRadScaleInc="55934">
        <dgm:presLayoutVars>
          <dgm:bulletEnabled val="1"/>
        </dgm:presLayoutVars>
      </dgm:prSet>
      <dgm:spPr/>
    </dgm:pt>
    <dgm:pt modelId="{9105E2E6-A6CF-486A-8EF3-A8D1B3F1F5DB}" type="pres">
      <dgm:prSet presAssocID="{A0BBAD2D-263C-441B-8F95-2C89FBA370FB}" presName="node" presStyleLbl="vennNode1" presStyleIdx="3" presStyleCnt="10" custScaleX="284821" custScaleY="80361" custRadScaleRad="151768" custRadScaleInc="-360317">
        <dgm:presLayoutVars>
          <dgm:bulletEnabled val="1"/>
        </dgm:presLayoutVars>
      </dgm:prSet>
      <dgm:spPr/>
    </dgm:pt>
    <dgm:pt modelId="{A4461588-FD00-4EA3-ADFC-F37425F8CABB}" type="pres">
      <dgm:prSet presAssocID="{25338551-8532-4681-A3A0-2395D53D95D3}" presName="node" presStyleLbl="vennNode1" presStyleIdx="4" presStyleCnt="10" custScaleX="193939" custScaleY="82794" custRadScaleRad="141129" custRadScaleInc="-39123">
        <dgm:presLayoutVars>
          <dgm:bulletEnabled val="1"/>
        </dgm:presLayoutVars>
      </dgm:prSet>
      <dgm:spPr/>
    </dgm:pt>
    <dgm:pt modelId="{75CA3CDB-AC64-4339-BDFB-C31E732939A0}" type="pres">
      <dgm:prSet presAssocID="{E939E131-48FB-4E03-B6F8-49F53B030183}" presName="node" presStyleLbl="vennNode1" presStyleIdx="5" presStyleCnt="10" custScaleX="186484" custRadScaleRad="103487" custRadScaleInc="106692">
        <dgm:presLayoutVars>
          <dgm:bulletEnabled val="1"/>
        </dgm:presLayoutVars>
      </dgm:prSet>
      <dgm:spPr/>
    </dgm:pt>
    <dgm:pt modelId="{6191D756-815E-4321-8416-9CD392780817}" type="pres">
      <dgm:prSet presAssocID="{3EDD7976-6F2D-48B9-88A0-102E889EF194}" presName="node" presStyleLbl="vennNode1" presStyleIdx="6" presStyleCnt="10" custScaleX="142205" custScaleY="95809" custRadScaleRad="101711" custRadScaleInc="-148709">
        <dgm:presLayoutVars>
          <dgm:bulletEnabled val="1"/>
        </dgm:presLayoutVars>
      </dgm:prSet>
      <dgm:spPr/>
    </dgm:pt>
    <dgm:pt modelId="{444CEDE9-74D1-4FCF-B9BE-85C69ED40EDD}" type="pres">
      <dgm:prSet presAssocID="{C33B8F46-A562-4521-AF54-583901233EB0}" presName="node" presStyleLbl="vennNode1" presStyleIdx="7" presStyleCnt="10" custScaleX="206309" custScaleY="92498" custRadScaleRad="136823" custRadScaleInc="22124">
        <dgm:presLayoutVars>
          <dgm:bulletEnabled val="1"/>
        </dgm:presLayoutVars>
      </dgm:prSet>
      <dgm:spPr/>
    </dgm:pt>
    <dgm:pt modelId="{A7D41B7E-2D2C-450F-9BB2-C4DEAD2C581D}" type="pres">
      <dgm:prSet presAssocID="{2387E394-8480-40A6-BB63-DA356E7D8AFF}" presName="node" presStyleLbl="vennNode1" presStyleIdx="8" presStyleCnt="10" custScaleX="216226" custScaleY="108462" custRadScaleRad="139935" custRadScaleInc="-17034">
        <dgm:presLayoutVars>
          <dgm:bulletEnabled val="1"/>
        </dgm:presLayoutVars>
      </dgm:prSet>
      <dgm:spPr/>
    </dgm:pt>
    <dgm:pt modelId="{EE7A27EF-D7E7-4BC0-82FD-E3AFE8880DA1}" type="pres">
      <dgm:prSet presAssocID="{9FBFADE0-80F3-4A6C-BF5D-51D8DDA174CC}" presName="node" presStyleLbl="vennNode1" presStyleIdx="9" presStyleCnt="10" custScaleX="253827" custScaleY="77290" custRadScaleRad="156621" custRadScaleInc="305928">
        <dgm:presLayoutVars>
          <dgm:bulletEnabled val="1"/>
        </dgm:presLayoutVars>
      </dgm:prSet>
      <dgm:spPr/>
    </dgm:pt>
  </dgm:ptLst>
  <dgm:cxnLst>
    <dgm:cxn modelId="{3352710F-9378-40E4-861D-7D811F3CC116}" type="presOf" srcId="{CEAA1CE4-F56D-4A22-AA79-E1AD426C4C5A}" destId="{06816E64-4D2F-46C1-B51B-A3D5541A2915}" srcOrd="0" destOrd="0" presId="urn:microsoft.com/office/officeart/2005/8/layout/radial3"/>
    <dgm:cxn modelId="{C3A36D1F-794C-4708-8A1F-82BEEE96D8D2}" srcId="{55E651AE-96B4-408B-9687-ABADE1CA3C0B}" destId="{CEAA1CE4-F56D-4A22-AA79-E1AD426C4C5A}" srcOrd="0" destOrd="0" parTransId="{76641280-BB1A-4CA4-B35C-FA2E5EF26EEE}" sibTransId="{3C879C61-C5EC-42E0-A30B-AEAF8290759B}"/>
    <dgm:cxn modelId="{7A6D7540-A323-4826-A3BA-FA32527256FB}" type="presOf" srcId="{C33B8F46-A562-4521-AF54-583901233EB0}" destId="{444CEDE9-74D1-4FCF-B9BE-85C69ED40EDD}" srcOrd="0" destOrd="0" presId="urn:microsoft.com/office/officeart/2005/8/layout/radial3"/>
    <dgm:cxn modelId="{9DA50C61-BFC8-458D-A45F-F90512BFADD4}" type="presOf" srcId="{3EDD7976-6F2D-48B9-88A0-102E889EF194}" destId="{6191D756-815E-4321-8416-9CD392780817}" srcOrd="0" destOrd="0" presId="urn:microsoft.com/office/officeart/2005/8/layout/radial3"/>
    <dgm:cxn modelId="{16E8CD66-931F-45AF-AC5C-C08415AF6117}" srcId="{CEAA1CE4-F56D-4A22-AA79-E1AD426C4C5A}" destId="{A0BBAD2D-263C-441B-8F95-2C89FBA370FB}" srcOrd="2" destOrd="0" parTransId="{44272B3A-C507-45D6-B5AA-8C63F57BBB00}" sibTransId="{72016FD9-2734-4A95-ACE1-DF5BEF33DE68}"/>
    <dgm:cxn modelId="{57FA996C-0634-44EA-98E5-A16042509014}" type="presOf" srcId="{55E651AE-96B4-408B-9687-ABADE1CA3C0B}" destId="{08FB9558-E8FF-4906-BBDB-B86375AD4E07}" srcOrd="0" destOrd="0" presId="urn:microsoft.com/office/officeart/2005/8/layout/radial3"/>
    <dgm:cxn modelId="{92FF266F-E79B-4C8D-989C-957C712F1CF6}" srcId="{CEAA1CE4-F56D-4A22-AA79-E1AD426C4C5A}" destId="{6D1C4999-AD7C-4541-AB13-1E8BF74AF5EB}" srcOrd="0" destOrd="0" parTransId="{5CCFE528-6C5D-4320-B3D4-0C33C03D7BE4}" sibTransId="{07086FB8-0D7D-49F0-92EC-8ED8233D31F8}"/>
    <dgm:cxn modelId="{C770FC76-639A-4316-BF6B-A6D79A1E1F3A}" srcId="{CEAA1CE4-F56D-4A22-AA79-E1AD426C4C5A}" destId="{2387E394-8480-40A6-BB63-DA356E7D8AFF}" srcOrd="7" destOrd="0" parTransId="{099126A2-71A8-415E-A8EE-A098920619FA}" sibTransId="{12A03EDE-5D09-405F-A0D5-704D74318788}"/>
    <dgm:cxn modelId="{DDBEBE93-1866-4224-9B47-0006517AE4EB}" srcId="{CEAA1CE4-F56D-4A22-AA79-E1AD426C4C5A}" destId="{C33B8F46-A562-4521-AF54-583901233EB0}" srcOrd="6" destOrd="0" parTransId="{193E0C15-F17F-44DD-B258-2C50D1031F02}" sibTransId="{2B9C337D-4969-4775-B253-D1E7FF0791DB}"/>
    <dgm:cxn modelId="{F36500A0-C1ED-41BE-B874-96BA6510FE32}" srcId="{CEAA1CE4-F56D-4A22-AA79-E1AD426C4C5A}" destId="{9FBFADE0-80F3-4A6C-BF5D-51D8DDA174CC}" srcOrd="8" destOrd="0" parTransId="{5114305E-6E4C-48D6-9D10-9C14E2D8B7B0}" sibTransId="{4C321AA3-403B-440C-869E-8CB47DEDD8B1}"/>
    <dgm:cxn modelId="{82CB4AB0-6F48-4B14-A1DF-B969F7E80559}" type="presOf" srcId="{2387E394-8480-40A6-BB63-DA356E7D8AFF}" destId="{A7D41B7E-2D2C-450F-9BB2-C4DEAD2C581D}" srcOrd="0" destOrd="0" presId="urn:microsoft.com/office/officeart/2005/8/layout/radial3"/>
    <dgm:cxn modelId="{9DB470C1-B2D5-45A2-AD48-F23E7C5BDC70}" srcId="{CEAA1CE4-F56D-4A22-AA79-E1AD426C4C5A}" destId="{3EDD7976-6F2D-48B9-88A0-102E889EF194}" srcOrd="5" destOrd="0" parTransId="{3719F92E-29C9-476A-B636-E07A11C2F00C}" sibTransId="{B053D0DC-E5F0-4FFC-85FD-929F8635918F}"/>
    <dgm:cxn modelId="{D84EB0C6-D5D7-447E-8E21-EF91C998D336}" type="presOf" srcId="{25338551-8532-4681-A3A0-2395D53D95D3}" destId="{A4461588-FD00-4EA3-ADFC-F37425F8CABB}" srcOrd="0" destOrd="0" presId="urn:microsoft.com/office/officeart/2005/8/layout/radial3"/>
    <dgm:cxn modelId="{779C11CD-9909-4186-8B1C-11E8606C88EC}" srcId="{CEAA1CE4-F56D-4A22-AA79-E1AD426C4C5A}" destId="{88DE58E0-90AB-4F13-9F7A-8ECF1B3C21EF}" srcOrd="1" destOrd="0" parTransId="{F95098EB-EAAE-491C-9B01-C91B3A0A814E}" sibTransId="{CDDCFA07-4D19-45D2-A6FB-4F285F22E736}"/>
    <dgm:cxn modelId="{6E5943CD-8810-4A93-A751-5179C4499E9B}" type="presOf" srcId="{E939E131-48FB-4E03-B6F8-49F53B030183}" destId="{75CA3CDB-AC64-4339-BDFB-C31E732939A0}" srcOrd="0" destOrd="0" presId="urn:microsoft.com/office/officeart/2005/8/layout/radial3"/>
    <dgm:cxn modelId="{033F88D2-1031-466A-A6DE-4BB4F3313B04}" type="presOf" srcId="{88DE58E0-90AB-4F13-9F7A-8ECF1B3C21EF}" destId="{7263A1B1-261E-475E-8644-18DEDB892AE1}" srcOrd="0" destOrd="0" presId="urn:microsoft.com/office/officeart/2005/8/layout/radial3"/>
    <dgm:cxn modelId="{7C518CD7-60D8-4CA9-8E8B-A94B78097302}" type="presOf" srcId="{9FBFADE0-80F3-4A6C-BF5D-51D8DDA174CC}" destId="{EE7A27EF-D7E7-4BC0-82FD-E3AFE8880DA1}" srcOrd="0" destOrd="0" presId="urn:microsoft.com/office/officeart/2005/8/layout/radial3"/>
    <dgm:cxn modelId="{75C695E9-A772-461F-80FC-D39342FF5C27}" srcId="{CEAA1CE4-F56D-4A22-AA79-E1AD426C4C5A}" destId="{25338551-8532-4681-A3A0-2395D53D95D3}" srcOrd="3" destOrd="0" parTransId="{D14F064C-9C50-4615-95FF-1D9FB28BF060}" sibTransId="{087F014C-594C-4504-863E-F06B15C42E90}"/>
    <dgm:cxn modelId="{F574E3EC-394E-4752-835B-8CC032E02C10}" type="presOf" srcId="{6D1C4999-AD7C-4541-AB13-1E8BF74AF5EB}" destId="{6477721D-1FDE-4B14-AA01-33322FCE773E}" srcOrd="0" destOrd="0" presId="urn:microsoft.com/office/officeart/2005/8/layout/radial3"/>
    <dgm:cxn modelId="{FFCD92F4-E6CC-45ED-8738-99482ED0DED1}" srcId="{CEAA1CE4-F56D-4A22-AA79-E1AD426C4C5A}" destId="{E939E131-48FB-4E03-B6F8-49F53B030183}" srcOrd="4" destOrd="0" parTransId="{9A24825B-953A-4A7C-889D-DAB263E50756}" sibTransId="{7379C0FB-1C45-4190-96DE-DAC0DB5788FB}"/>
    <dgm:cxn modelId="{80B3FFFE-7EE6-4A87-A38A-580976C5D124}" type="presOf" srcId="{A0BBAD2D-263C-441B-8F95-2C89FBA370FB}" destId="{9105E2E6-A6CF-486A-8EF3-A8D1B3F1F5DB}" srcOrd="0" destOrd="0" presId="urn:microsoft.com/office/officeart/2005/8/layout/radial3"/>
    <dgm:cxn modelId="{17FFB93A-B68E-489B-9076-1DD5F655287E}" type="presParOf" srcId="{08FB9558-E8FF-4906-BBDB-B86375AD4E07}" destId="{5E48755F-BDCF-49C3-AA46-92ED4D398123}" srcOrd="0" destOrd="0" presId="urn:microsoft.com/office/officeart/2005/8/layout/radial3"/>
    <dgm:cxn modelId="{28E2EF21-40DC-4065-81D9-AC9E77C6DABA}" type="presParOf" srcId="{5E48755F-BDCF-49C3-AA46-92ED4D398123}" destId="{06816E64-4D2F-46C1-B51B-A3D5541A2915}" srcOrd="0" destOrd="0" presId="urn:microsoft.com/office/officeart/2005/8/layout/radial3"/>
    <dgm:cxn modelId="{71CB2574-05E7-42F3-BA25-497AAE0D3938}" type="presParOf" srcId="{5E48755F-BDCF-49C3-AA46-92ED4D398123}" destId="{6477721D-1FDE-4B14-AA01-33322FCE773E}" srcOrd="1" destOrd="0" presId="urn:microsoft.com/office/officeart/2005/8/layout/radial3"/>
    <dgm:cxn modelId="{9FC1BC1E-32BE-435F-B0C5-EFAC88E39D7E}" type="presParOf" srcId="{5E48755F-BDCF-49C3-AA46-92ED4D398123}" destId="{7263A1B1-261E-475E-8644-18DEDB892AE1}" srcOrd="2" destOrd="0" presId="urn:microsoft.com/office/officeart/2005/8/layout/radial3"/>
    <dgm:cxn modelId="{CFA3C8E7-D91C-496F-AB4B-08D6B2F37440}" type="presParOf" srcId="{5E48755F-BDCF-49C3-AA46-92ED4D398123}" destId="{9105E2E6-A6CF-486A-8EF3-A8D1B3F1F5DB}" srcOrd="3" destOrd="0" presId="urn:microsoft.com/office/officeart/2005/8/layout/radial3"/>
    <dgm:cxn modelId="{25BB62F0-124F-4852-B871-944522A5ADBB}" type="presParOf" srcId="{5E48755F-BDCF-49C3-AA46-92ED4D398123}" destId="{A4461588-FD00-4EA3-ADFC-F37425F8CABB}" srcOrd="4" destOrd="0" presId="urn:microsoft.com/office/officeart/2005/8/layout/radial3"/>
    <dgm:cxn modelId="{06C8A396-8CA6-4124-B243-7A87DF44C035}" type="presParOf" srcId="{5E48755F-BDCF-49C3-AA46-92ED4D398123}" destId="{75CA3CDB-AC64-4339-BDFB-C31E732939A0}" srcOrd="5" destOrd="0" presId="urn:microsoft.com/office/officeart/2005/8/layout/radial3"/>
    <dgm:cxn modelId="{04A5BFD1-9099-436E-8574-202AF82F440E}" type="presParOf" srcId="{5E48755F-BDCF-49C3-AA46-92ED4D398123}" destId="{6191D756-815E-4321-8416-9CD392780817}" srcOrd="6" destOrd="0" presId="urn:microsoft.com/office/officeart/2005/8/layout/radial3"/>
    <dgm:cxn modelId="{68A3C592-52C7-438C-BF7F-A18173B7EC38}" type="presParOf" srcId="{5E48755F-BDCF-49C3-AA46-92ED4D398123}" destId="{444CEDE9-74D1-4FCF-B9BE-85C69ED40EDD}" srcOrd="7" destOrd="0" presId="urn:microsoft.com/office/officeart/2005/8/layout/radial3"/>
    <dgm:cxn modelId="{4A45D1EC-3618-4F89-AB73-EA1B4EE9E1D3}" type="presParOf" srcId="{5E48755F-BDCF-49C3-AA46-92ED4D398123}" destId="{A7D41B7E-2D2C-450F-9BB2-C4DEAD2C581D}" srcOrd="8" destOrd="0" presId="urn:microsoft.com/office/officeart/2005/8/layout/radial3"/>
    <dgm:cxn modelId="{4FFF231E-6D12-456E-B731-55A340B452E1}" type="presParOf" srcId="{5E48755F-BDCF-49C3-AA46-92ED4D398123}" destId="{EE7A27EF-D7E7-4BC0-82FD-E3AFE8880DA1}" srcOrd="9" destOrd="0" presId="urn:microsoft.com/office/officeart/2005/8/layout/radial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0E75B8-9067-4872-A3B0-6B82C9B592B0}">
      <dsp:nvSpPr>
        <dsp:cNvPr id="0" name=""/>
        <dsp:cNvSpPr/>
      </dsp:nvSpPr>
      <dsp:spPr>
        <a:xfrm>
          <a:off x="3662599" y="30614"/>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Beneficial Changes Network </a:t>
          </a:r>
        </a:p>
      </dsp:txBody>
      <dsp:txXfrm>
        <a:off x="4167741" y="1040898"/>
        <a:ext cx="1010283" cy="1010283"/>
      </dsp:txXfrm>
    </dsp:sp>
    <dsp:sp modelId="{DFF9B48A-95EF-4E4E-BB73-356DDECDB828}">
      <dsp:nvSpPr>
        <dsp:cNvPr id="0" name=""/>
        <dsp:cNvSpPr/>
      </dsp:nvSpPr>
      <dsp:spPr>
        <a:xfrm>
          <a:off x="2652315" y="2051182"/>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RightCare </a:t>
          </a:r>
        </a:p>
      </dsp:txBody>
      <dsp:txXfrm>
        <a:off x="3157457" y="3061466"/>
        <a:ext cx="1010283" cy="1010283"/>
      </dsp:txXfrm>
    </dsp:sp>
    <dsp:sp modelId="{41B93828-23B3-4306-95E0-1F7D3087F475}">
      <dsp:nvSpPr>
        <dsp:cNvPr id="0" name=""/>
        <dsp:cNvSpPr/>
      </dsp:nvSpPr>
      <dsp:spPr>
        <a:xfrm rot="10800000">
          <a:off x="3635745" y="2132874"/>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Clinical Improvement </a:t>
          </a:r>
        </a:p>
      </dsp:txBody>
      <dsp:txXfrm rot="10800000">
        <a:off x="4140887" y="2132874"/>
        <a:ext cx="1010283" cy="1010283"/>
      </dsp:txXfrm>
    </dsp:sp>
    <dsp:sp modelId="{60AC06F2-FF8B-4BA8-BF58-99282BB04254}">
      <dsp:nvSpPr>
        <dsp:cNvPr id="0" name=""/>
        <dsp:cNvSpPr/>
      </dsp:nvSpPr>
      <dsp:spPr>
        <a:xfrm>
          <a:off x="4672883" y="2051182"/>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t> Clinical Audit  </a:t>
          </a:r>
        </a:p>
      </dsp:txBody>
      <dsp:txXfrm>
        <a:off x="5178025" y="3061466"/>
        <a:ext cx="1010283" cy="1010283"/>
      </dsp:txXfrm>
    </dsp:sp>
    <dsp:sp modelId="{6FF8095F-4823-4DF1-BEE5-219AB9719753}">
      <dsp:nvSpPr>
        <dsp:cNvPr id="0" name=""/>
        <dsp:cNvSpPr/>
      </dsp:nvSpPr>
      <dsp:spPr>
        <a:xfrm>
          <a:off x="1615177" y="4102365"/>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Coproduction </a:t>
          </a:r>
        </a:p>
      </dsp:txBody>
      <dsp:txXfrm>
        <a:off x="2120319" y="5112649"/>
        <a:ext cx="1010283" cy="1010283"/>
      </dsp:txXfrm>
    </dsp:sp>
    <dsp:sp modelId="{4715B6C4-18F9-4A38-916D-049638AE46BB}">
      <dsp:nvSpPr>
        <dsp:cNvPr id="0" name=""/>
        <dsp:cNvSpPr/>
      </dsp:nvSpPr>
      <dsp:spPr>
        <a:xfrm rot="10800000">
          <a:off x="2652315" y="4071750"/>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B8788FBE-07DD-46C8-8C07-FEFA2CFFCA75}">
      <dsp:nvSpPr>
        <dsp:cNvPr id="0" name=""/>
        <dsp:cNvSpPr/>
      </dsp:nvSpPr>
      <dsp:spPr>
        <a:xfrm>
          <a:off x="3662599" y="4071750"/>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04510A5E-D51E-4BA3-ADF6-BC138FBA8AB0}">
      <dsp:nvSpPr>
        <dsp:cNvPr id="0" name=""/>
        <dsp:cNvSpPr/>
      </dsp:nvSpPr>
      <dsp:spPr>
        <a:xfrm rot="10800000">
          <a:off x="4672883" y="4071750"/>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95F2BAD8-2322-4DFA-9274-04D5E53EC1D3}">
      <dsp:nvSpPr>
        <dsp:cNvPr id="0" name=""/>
        <dsp:cNvSpPr/>
      </dsp:nvSpPr>
      <dsp:spPr>
        <a:xfrm>
          <a:off x="5683166" y="4071750"/>
          <a:ext cx="2020567" cy="2020567"/>
        </a:xfrm>
        <a:prstGeom prst="triangl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816E64-4D2F-46C1-B51B-A3D5541A2915}">
      <dsp:nvSpPr>
        <dsp:cNvPr id="0" name=""/>
        <dsp:cNvSpPr/>
      </dsp:nvSpPr>
      <dsp:spPr>
        <a:xfrm>
          <a:off x="2595400" y="976738"/>
          <a:ext cx="2593965" cy="2593965"/>
        </a:xfrm>
        <a:prstGeom prst="ellipse">
          <a:avLst/>
        </a:prstGeom>
        <a:solidFill>
          <a:srgbClr val="CCA11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GB" sz="2400" kern="1200" dirty="0"/>
            <a:t>National Clinical Audit</a:t>
          </a:r>
        </a:p>
      </dsp:txBody>
      <dsp:txXfrm>
        <a:off x="2975277" y="1356615"/>
        <a:ext cx="1834211" cy="1834211"/>
      </dsp:txXfrm>
    </dsp:sp>
    <dsp:sp modelId="{6477721D-1FDE-4B14-AA01-33322FCE773E}">
      <dsp:nvSpPr>
        <dsp:cNvPr id="0" name=""/>
        <dsp:cNvSpPr/>
      </dsp:nvSpPr>
      <dsp:spPr>
        <a:xfrm>
          <a:off x="2784645" y="76197"/>
          <a:ext cx="2314725" cy="932829"/>
        </a:xfrm>
        <a:prstGeom prst="ellipse">
          <a:avLst/>
        </a:prstGeom>
        <a:solidFill>
          <a:schemeClr val="accent4">
            <a:lumMod val="60000"/>
            <a:lumOff val="40000"/>
            <a:alpha val="59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Effective clinical leadership</a:t>
          </a:r>
        </a:p>
      </dsp:txBody>
      <dsp:txXfrm>
        <a:off x="3123629" y="212807"/>
        <a:ext cx="1636757" cy="659609"/>
      </dsp:txXfrm>
    </dsp:sp>
    <dsp:sp modelId="{7263A1B1-261E-475E-8644-18DEDB892AE1}">
      <dsp:nvSpPr>
        <dsp:cNvPr id="0" name=""/>
        <dsp:cNvSpPr/>
      </dsp:nvSpPr>
      <dsp:spPr>
        <a:xfrm>
          <a:off x="4403675" y="525642"/>
          <a:ext cx="3721147" cy="1013410"/>
        </a:xfrm>
        <a:prstGeom prst="ellipse">
          <a:avLst/>
        </a:prstGeom>
        <a:solidFill>
          <a:schemeClr val="accent3">
            <a:alpha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Minimal data burden /maximise linkage</a:t>
          </a:r>
        </a:p>
      </dsp:txBody>
      <dsp:txXfrm>
        <a:off x="4948624" y="674052"/>
        <a:ext cx="2631249" cy="716590"/>
      </dsp:txXfrm>
    </dsp:sp>
    <dsp:sp modelId="{9105E2E6-A6CF-486A-8EF3-A8D1B3F1F5DB}">
      <dsp:nvSpPr>
        <dsp:cNvPr id="0" name=""/>
        <dsp:cNvSpPr/>
      </dsp:nvSpPr>
      <dsp:spPr>
        <a:xfrm>
          <a:off x="0" y="632912"/>
          <a:ext cx="3694079" cy="1042268"/>
        </a:xfrm>
        <a:prstGeom prst="ellipse">
          <a:avLst/>
        </a:prstGeom>
        <a:solidFill>
          <a:schemeClr val="accent5">
            <a:lumMod val="60000"/>
            <a:lumOff val="40000"/>
            <a:alpha val="59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Patient and public involvement and focus  </a:t>
          </a:r>
        </a:p>
      </dsp:txBody>
      <dsp:txXfrm>
        <a:off x="540985" y="785549"/>
        <a:ext cx="2612109" cy="736994"/>
      </dsp:txXfrm>
    </dsp:sp>
    <dsp:sp modelId="{A4461588-FD00-4EA3-ADFC-F37425F8CABB}">
      <dsp:nvSpPr>
        <dsp:cNvPr id="0" name=""/>
        <dsp:cNvSpPr/>
      </dsp:nvSpPr>
      <dsp:spPr>
        <a:xfrm>
          <a:off x="4946210" y="2328187"/>
          <a:ext cx="2515355" cy="1073824"/>
        </a:xfrm>
        <a:prstGeom prst="ellipse">
          <a:avLst/>
        </a:prstGeom>
        <a:solidFill>
          <a:schemeClr val="accent5">
            <a:lumMod val="60000"/>
            <a:lumOff val="40000"/>
            <a:alpha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Clear quality improvement intent</a:t>
          </a:r>
        </a:p>
      </dsp:txBody>
      <dsp:txXfrm>
        <a:off x="5314575" y="2485445"/>
        <a:ext cx="1778625" cy="759308"/>
      </dsp:txXfrm>
    </dsp:sp>
    <dsp:sp modelId="{75CA3CDB-AC64-4339-BDFB-C31E732939A0}">
      <dsp:nvSpPr>
        <dsp:cNvPr id="0" name=""/>
        <dsp:cNvSpPr/>
      </dsp:nvSpPr>
      <dsp:spPr>
        <a:xfrm>
          <a:off x="2008533" y="3239549"/>
          <a:ext cx="2418665" cy="1296982"/>
        </a:xfrm>
        <a:prstGeom prst="ellipse">
          <a:avLst/>
        </a:prstGeom>
        <a:solidFill>
          <a:schemeClr val="accent4">
            <a:alpha val="5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Robust methodology</a:t>
          </a:r>
        </a:p>
      </dsp:txBody>
      <dsp:txXfrm>
        <a:off x="2362738" y="3429488"/>
        <a:ext cx="1710255" cy="917104"/>
      </dsp:txXfrm>
    </dsp:sp>
    <dsp:sp modelId="{6191D756-815E-4321-8416-9CD392780817}">
      <dsp:nvSpPr>
        <dsp:cNvPr id="0" name=""/>
        <dsp:cNvSpPr/>
      </dsp:nvSpPr>
      <dsp:spPr>
        <a:xfrm>
          <a:off x="4063582" y="2979565"/>
          <a:ext cx="1844374" cy="1242626"/>
        </a:xfrm>
        <a:prstGeom prst="ellipse">
          <a:avLst/>
        </a:prstGeom>
        <a:solidFill>
          <a:schemeClr val="accent3">
            <a:alpha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Value for money</a:t>
          </a:r>
        </a:p>
      </dsp:txBody>
      <dsp:txXfrm>
        <a:off x="4333684" y="3161543"/>
        <a:ext cx="1304170" cy="878670"/>
      </dsp:txXfrm>
    </dsp:sp>
    <dsp:sp modelId="{444CEDE9-74D1-4FCF-B9BE-85C69ED40EDD}">
      <dsp:nvSpPr>
        <dsp:cNvPr id="0" name=""/>
        <dsp:cNvSpPr/>
      </dsp:nvSpPr>
      <dsp:spPr>
        <a:xfrm>
          <a:off x="397152" y="2508506"/>
          <a:ext cx="2675792" cy="1199683"/>
        </a:xfrm>
        <a:prstGeom prst="ellipse">
          <a:avLst/>
        </a:prstGeom>
        <a:solidFill>
          <a:schemeClr val="accent3">
            <a:alpha val="59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Tailored outputs</a:t>
          </a:r>
        </a:p>
      </dsp:txBody>
      <dsp:txXfrm>
        <a:off x="789013" y="2684196"/>
        <a:ext cx="1892070" cy="848303"/>
      </dsp:txXfrm>
    </dsp:sp>
    <dsp:sp modelId="{A7D41B7E-2D2C-450F-9BB2-C4DEAD2C581D}">
      <dsp:nvSpPr>
        <dsp:cNvPr id="0" name=""/>
        <dsp:cNvSpPr/>
      </dsp:nvSpPr>
      <dsp:spPr>
        <a:xfrm>
          <a:off x="128064" y="1438854"/>
          <a:ext cx="2804414" cy="1406733"/>
        </a:xfrm>
        <a:prstGeom prst="ellipse">
          <a:avLst/>
        </a:prstGeom>
        <a:solidFill>
          <a:schemeClr val="accent4">
            <a:lumMod val="60000"/>
            <a:lumOff val="40000"/>
            <a:alpha val="59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Alignment with system and health priorities</a:t>
          </a:r>
        </a:p>
      </dsp:txBody>
      <dsp:txXfrm>
        <a:off x="538761" y="1644865"/>
        <a:ext cx="1983020" cy="994711"/>
      </dsp:txXfrm>
    </dsp:sp>
    <dsp:sp modelId="{EE7A27EF-D7E7-4BC0-82FD-E3AFE8880DA1}">
      <dsp:nvSpPr>
        <dsp:cNvPr id="0" name=""/>
        <dsp:cNvSpPr/>
      </dsp:nvSpPr>
      <dsp:spPr>
        <a:xfrm>
          <a:off x="4870766" y="1420985"/>
          <a:ext cx="3292093" cy="1002438"/>
        </a:xfrm>
        <a:prstGeom prst="ellipse">
          <a:avLst/>
        </a:prstGeom>
        <a:solidFill>
          <a:schemeClr val="accent4">
            <a:lumMod val="60000"/>
            <a:lumOff val="40000"/>
            <a:alpha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t>Complete, high quality benchmarked  data</a:t>
          </a:r>
        </a:p>
      </dsp:txBody>
      <dsp:txXfrm>
        <a:off x="5352882" y="1567789"/>
        <a:ext cx="2327861" cy="708830"/>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ACFBF8-50CD-4D67-B1B9-53D411B91E0C}" type="datetimeFigureOut">
              <a:rPr lang="en-GB" smtClean="0"/>
              <a:t>26/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99D0A7-949E-4790-97E3-8F61D631F5CD}" type="slidenum">
              <a:rPr lang="en-GB" smtClean="0"/>
              <a:t>‹#›</a:t>
            </a:fld>
            <a:endParaRPr lang="en-GB"/>
          </a:p>
        </p:txBody>
      </p:sp>
    </p:spTree>
    <p:extLst>
      <p:ext uri="{BB962C8B-B14F-4D97-AF65-F5344CB8AC3E}">
        <p14:creationId xmlns:p14="http://schemas.microsoft.com/office/powerpoint/2010/main" val="30242039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a:t>The Clinical Improvement Group has three distinct focuses of work:</a:t>
            </a:r>
          </a:p>
          <a:p>
            <a:r>
              <a:rPr lang="en-GB" b="1"/>
              <a:t>Beneficial Changes Network</a:t>
            </a:r>
            <a:endParaRPr lang="en-GB"/>
          </a:p>
          <a:p>
            <a:r>
              <a:rPr lang="en-GB" b="1"/>
              <a:t>RightCare</a:t>
            </a:r>
            <a:endParaRPr lang="en-GB"/>
          </a:p>
          <a:p>
            <a:r>
              <a:rPr lang="en-GB" b="1"/>
              <a:t>Clinical Audit (from June 2021)</a:t>
            </a:r>
          </a:p>
          <a:p>
            <a:pPr marL="0" indent="0">
              <a:buNone/>
            </a:pPr>
            <a:r>
              <a:rPr lang="en-GB"/>
              <a:t>The National Incident Response Board commissioned the Improvement Directorate to capture the innovation and new ways of working from the frontline happening in response to the pandemic and so the </a:t>
            </a:r>
            <a:r>
              <a:rPr lang="en-GB" b="1"/>
              <a:t>Beneficial Changes Network </a:t>
            </a:r>
            <a:r>
              <a:rPr lang="en-GB"/>
              <a:t>evolved in May 2020. </a:t>
            </a:r>
          </a:p>
          <a:p>
            <a:pPr marL="0" indent="0">
              <a:buNone/>
            </a:pPr>
            <a:r>
              <a:rPr lang="en-GB" b="1"/>
              <a:t>RightCare </a:t>
            </a:r>
            <a:r>
              <a:rPr lang="en-GB"/>
              <a:t>started out as the NHS England national commissioning improvement programme to reduce unwarranted variation by benchmarking CCGs and highlighting opportunities for improvement across commissioning care pathways. Various data packs are now provided at Primary Care Network level and also at ICS level for systems to use locally to inform the transformation of care pathways. In addition, patient scenarios and toolkits are developed by the team to support delivery.</a:t>
            </a:r>
          </a:p>
          <a:p>
            <a:pPr marL="0" indent="0">
              <a:buNone/>
            </a:pPr>
            <a:r>
              <a:rPr lang="en-GB"/>
              <a:t>Historically </a:t>
            </a:r>
            <a:r>
              <a:rPr lang="en-GB" b="1"/>
              <a:t>Clinical Audit </a:t>
            </a:r>
            <a:r>
              <a:rPr lang="en-GB"/>
              <a:t>has been seen as a clinical intervention, led by the Medical Directorate at national level, however the Clinical Improvement Director now co-chairs the national forum giving us an opportunity to bring the national recommendations from clinical audit into the integrated improvement work at National and Regional level.</a:t>
            </a:r>
          </a:p>
          <a:p>
            <a:pPr marL="0" indent="0">
              <a:buNone/>
            </a:pPr>
            <a:r>
              <a:rPr lang="en-GB"/>
              <a:t>In addition the Clinical Improvement Group leads on a number of Improvement Directorate-wide initiatives:</a:t>
            </a:r>
          </a:p>
          <a:p>
            <a:r>
              <a:rPr lang="en-GB"/>
              <a:t>Coproduction </a:t>
            </a:r>
          </a:p>
          <a:p>
            <a:r>
              <a:rPr lang="en-GB"/>
              <a:t>Social Care integration – first workshop in July 2021</a:t>
            </a:r>
          </a:p>
          <a:p>
            <a:r>
              <a:rPr lang="en-GB"/>
              <a:t>Improvement Hub and repository on the NHS Futures site</a:t>
            </a:r>
          </a:p>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1416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1416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1055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solidFill>
                  <a:schemeClr val="tx1"/>
                </a:solidFill>
                <a:effectLst/>
                <a:latin typeface="+mn-lt"/>
                <a:ea typeface="+mn-ea"/>
                <a:cs typeface="+mn-cs"/>
              </a:rPr>
              <a:t>These</a:t>
            </a:r>
            <a:r>
              <a:rPr lang="en-GB" sz="1200" kern="1200" baseline="0" dirty="0">
                <a:solidFill>
                  <a:schemeClr val="tx1"/>
                </a:solidFill>
                <a:effectLst/>
                <a:latin typeface="+mn-lt"/>
                <a:ea typeface="+mn-ea"/>
                <a:cs typeface="+mn-cs"/>
              </a:rPr>
              <a:t> are the </a:t>
            </a:r>
            <a:r>
              <a:rPr lang="en-GB" sz="1200" kern="1200" dirty="0">
                <a:solidFill>
                  <a:schemeClr val="tx1"/>
                </a:solidFill>
                <a:effectLst/>
                <a:latin typeface="+mn-lt"/>
                <a:ea typeface="+mn-ea"/>
                <a:cs typeface="+mn-cs"/>
              </a:rPr>
              <a:t>commissioning principles HQIP uses and they guide all areas of our work:</a:t>
            </a:r>
          </a:p>
          <a:p>
            <a:pPr marL="171450" lvl="0" indent="-171450">
              <a:buFont typeface="Arial" panose="020B0604020202020204" pitchFamily="34" charset="0"/>
              <a:buChar char="•"/>
            </a:pPr>
            <a:r>
              <a:rPr lang="en-GB" sz="1200" dirty="0">
                <a:solidFill>
                  <a:srgbClr val="001D49"/>
                </a:solidFill>
              </a:rPr>
              <a:t>We are u</a:t>
            </a:r>
            <a:r>
              <a:rPr lang="en-GB" sz="1200" dirty="0"/>
              <a:t>nique in our</a:t>
            </a:r>
            <a:r>
              <a:rPr lang="en-GB" sz="1200" baseline="0" dirty="0"/>
              <a:t> approach. We commission, manage and develop the most comprehensive, transparent programme in the world on behalf of NHS E and it is </a:t>
            </a:r>
            <a:r>
              <a:rPr lang="en-GB" sz="1200" dirty="0"/>
              <a:t>internationally admired</a:t>
            </a:r>
          </a:p>
          <a:p>
            <a:pPr marL="171450" lvl="0" indent="-171450">
              <a:buFont typeface="Arial" panose="020B0604020202020204" pitchFamily="34" charset="0"/>
              <a:buChar char="•"/>
            </a:pPr>
            <a:r>
              <a:rPr lang="en-GB" sz="1200" dirty="0"/>
              <a:t>We commission</a:t>
            </a:r>
            <a:r>
              <a:rPr lang="en-GB" sz="1200" baseline="0" dirty="0"/>
              <a:t> for active </a:t>
            </a:r>
            <a:r>
              <a:rPr lang="en-GB" sz="1200" dirty="0"/>
              <a:t>clinical leadership and engagement in all our work to support implementation of findings i.e. improvement in patient care and outcomes</a:t>
            </a:r>
          </a:p>
          <a:p>
            <a:pPr marL="171450" lvl="0" indent="-171450">
              <a:buFont typeface="Arial" panose="020B0604020202020204" pitchFamily="34" charset="0"/>
              <a:buChar char="•"/>
            </a:pPr>
            <a:r>
              <a:rPr lang="en-GB" sz="1200" dirty="0"/>
              <a:t>We have worked hard with our providers to ensure a high (95%+) participation of all those that provide care to NHS patients and  to ensure high case ascertainment within each organisation</a:t>
            </a:r>
          </a:p>
          <a:p>
            <a:pPr marL="171450" lvl="0" indent="-171450">
              <a:buFont typeface="Arial" panose="020B0604020202020204" pitchFamily="34" charset="0"/>
              <a:buChar char="•"/>
            </a:pPr>
            <a:r>
              <a:rPr lang="en-GB" sz="1200" dirty="0"/>
              <a:t>We</a:t>
            </a:r>
            <a:r>
              <a:rPr lang="en-GB" sz="1200" baseline="0" dirty="0"/>
              <a:t> ensure that commissioned outputs represent value for money for the public purse</a:t>
            </a:r>
            <a:endParaRPr lang="en-GB" sz="1200" dirty="0"/>
          </a:p>
          <a:p>
            <a:pPr marL="171450" lvl="0" indent="-171450">
              <a:buFont typeface="Arial" panose="020B0604020202020204" pitchFamily="34" charset="0"/>
              <a:buChar char="•"/>
            </a:pPr>
            <a:r>
              <a:rPr lang="en-GB" sz="1200" dirty="0"/>
              <a:t>We work to maximise the outputs</a:t>
            </a:r>
            <a:r>
              <a:rPr lang="en-GB" sz="1200" baseline="0" dirty="0"/>
              <a:t> from c</a:t>
            </a:r>
            <a:r>
              <a:rPr lang="en-GB" sz="1200" dirty="0"/>
              <a:t>linically relevant robust trustworthy data minimising as far as possible the activity required locally to collect it</a:t>
            </a:r>
          </a:p>
          <a:p>
            <a:pPr marL="171450" lvl="0" indent="-171450">
              <a:buFont typeface="Arial" panose="020B0604020202020204" pitchFamily="34" charset="0"/>
              <a:buChar char="•"/>
            </a:pPr>
            <a:r>
              <a:rPr lang="en-GB" sz="1200" dirty="0"/>
              <a:t>We insist on meaningful patient involvement in everything we commission</a:t>
            </a:r>
          </a:p>
          <a:p>
            <a:pPr marL="171450" lvl="0" indent="-171450">
              <a:buFont typeface="Arial" panose="020B0604020202020204" pitchFamily="34" charset="0"/>
              <a:buChar char="•"/>
            </a:pPr>
            <a:r>
              <a:rPr lang="en-GB" sz="1200" dirty="0"/>
              <a:t>We work collaboratively</a:t>
            </a:r>
            <a:r>
              <a:rPr lang="en-GB" sz="1200" baseline="0" dirty="0"/>
              <a:t> and proactively to support s</a:t>
            </a:r>
            <a:r>
              <a:rPr lang="en-GB" sz="1200" dirty="0"/>
              <a:t>ystem alignment: NICE standards or other evidence-based standards used to underpin, supports other improvement initiatives (e.g. BPT, GRIFT, CQC) </a:t>
            </a:r>
          </a:p>
          <a:p>
            <a:pPr marL="171450" lvl="0" indent="-171450">
              <a:buFont typeface="Arial" panose="020B0604020202020204" pitchFamily="34" charset="0"/>
              <a:buChar char="•"/>
            </a:pPr>
            <a:r>
              <a:rPr lang="en-GB" sz="1200" dirty="0"/>
              <a:t>Our work with the</a:t>
            </a:r>
            <a:r>
              <a:rPr lang="en-GB" sz="1200" baseline="0" dirty="0"/>
              <a:t> HQIP led and funded initiative of National Clinical Audit Benchmarking (NCAB – further detail later in presentation) d</a:t>
            </a:r>
            <a:r>
              <a:rPr lang="en-GB" sz="1200" dirty="0"/>
              <a:t>elivers national QA and data  for local QI and supports medical director and Trust Board engagement and hence service re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ACD387-796E-44A9-8AB2-78E25E9D5BB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334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6490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8090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55885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57632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874443"/>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60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10" name="Picture 9">
            <a:extLst>
              <a:ext uri="{FF2B5EF4-FFF2-40B4-BE49-F238E27FC236}">
                <a16:creationId xmlns:a16="http://schemas.microsoft.com/office/drawing/2014/main" id="{C88DBB3D-99E2-5A4D-BAC7-8EC7C808598B}"/>
              </a:ext>
            </a:extLst>
          </p:cNvPr>
          <p:cNvPicPr>
            <a:picLocks noChangeAspect="1"/>
          </p:cNvPicPr>
          <p:nvPr userDrawn="1"/>
        </p:nvPicPr>
        <p:blipFill>
          <a:blip r:embed="rId3"/>
          <a:stretch>
            <a:fillRect/>
          </a:stretch>
        </p:blipFill>
        <p:spPr>
          <a:xfrm>
            <a:off x="10661939" y="429490"/>
            <a:ext cx="1072861" cy="436418"/>
          </a:xfrm>
          <a:prstGeom prst="rect">
            <a:avLst/>
          </a:prstGeom>
        </p:spPr>
      </p:pic>
    </p:spTree>
    <p:extLst>
      <p:ext uri="{BB962C8B-B14F-4D97-AF65-F5344CB8AC3E}">
        <p14:creationId xmlns:p14="http://schemas.microsoft.com/office/powerpoint/2010/main" val="4271349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07846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5538302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2E6CF-DBEC-4842-BBA9-6150F70BF5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BE7033E-80B0-4170-ACEC-748F842C89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67AF436-8A55-41FB-B5A9-0C07430B911F}"/>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5" name="Footer Placeholder 4">
            <a:extLst>
              <a:ext uri="{FF2B5EF4-FFF2-40B4-BE49-F238E27FC236}">
                <a16:creationId xmlns:a16="http://schemas.microsoft.com/office/drawing/2014/main" id="{1E291067-11E3-4D74-BB1F-758A0AD034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23DB4C4-A3C3-4314-81BC-B3987CE425A9}"/>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142234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55DD-A516-4093-983D-D6CEAF55F4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97DF4BF-6C65-47E9-A464-5284E13244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68FC0FD-4225-435A-B5BE-0BE38163162A}"/>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5" name="Footer Placeholder 4">
            <a:extLst>
              <a:ext uri="{FF2B5EF4-FFF2-40B4-BE49-F238E27FC236}">
                <a16:creationId xmlns:a16="http://schemas.microsoft.com/office/drawing/2014/main" id="{3CD37D39-76EE-4794-B102-C52CABE27D2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8C0F30-8F75-4A5D-932F-045DB1AA2F06}"/>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175222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E2187-7C0B-443B-8B7F-F7D988848E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D91F8E-BF5D-4722-A9A2-0C34A58BE52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F30997-B9FB-481C-98F9-B6BFEA2152DF}"/>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5" name="Footer Placeholder 4">
            <a:extLst>
              <a:ext uri="{FF2B5EF4-FFF2-40B4-BE49-F238E27FC236}">
                <a16:creationId xmlns:a16="http://schemas.microsoft.com/office/drawing/2014/main" id="{BDC248FD-01A6-4916-88AF-B1C2223D611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30D79BC-2375-4C59-A153-C989696F3D97}"/>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91988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E5C3A-11DC-47C3-8230-015D9FA5644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E4A5218-4A85-4585-A602-A1F010983EA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09160FB-2990-4EF8-B964-2493EF01165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10DB874-8503-4E51-8D13-499B7A3E7B12}"/>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6" name="Footer Placeholder 5">
            <a:extLst>
              <a:ext uri="{FF2B5EF4-FFF2-40B4-BE49-F238E27FC236}">
                <a16:creationId xmlns:a16="http://schemas.microsoft.com/office/drawing/2014/main" id="{2ED6CD63-98CB-481C-BCD8-BF853F4CC5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297F21-F3F6-4C3F-9125-11CFC23BF919}"/>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615593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63350-5C95-4037-A5F9-DA980C770D3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B2554E6-B481-4A0F-A6A6-4FD31DEB523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E0F0C79-FD3B-4ACC-8388-60F43753C4C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C9DEBDA-3936-4BC7-A490-BF74594F62B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193944F-8C20-4E4D-8449-FDADA31D59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CB44BBC-5207-411E-91B3-6795917DADB8}"/>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8" name="Footer Placeholder 7">
            <a:extLst>
              <a:ext uri="{FF2B5EF4-FFF2-40B4-BE49-F238E27FC236}">
                <a16:creationId xmlns:a16="http://schemas.microsoft.com/office/drawing/2014/main" id="{EE5CAFCB-0492-4270-9C99-EDD4AB69E87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B46A95F-8324-4AD7-A2E7-DCD9CA4EAF63}"/>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7308905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3D114-40A7-401D-A60B-28977F1966F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673242C-5DEB-430A-ADBD-36867A568C90}"/>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4" name="Footer Placeholder 3">
            <a:extLst>
              <a:ext uri="{FF2B5EF4-FFF2-40B4-BE49-F238E27FC236}">
                <a16:creationId xmlns:a16="http://schemas.microsoft.com/office/drawing/2014/main" id="{C60630B3-1E6C-4A1B-B818-CDA7A23A7E4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FFB8A68-EDEF-44DA-BF9C-4F961E69DE58}"/>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779754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438CA4-7743-4A8F-B17B-946683EE6E52}"/>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3" name="Footer Placeholder 2">
            <a:extLst>
              <a:ext uri="{FF2B5EF4-FFF2-40B4-BE49-F238E27FC236}">
                <a16:creationId xmlns:a16="http://schemas.microsoft.com/office/drawing/2014/main" id="{EB34DED7-B34E-43EB-9A4F-A546A9F2FF4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B3363E9-78BC-4935-9734-FAAD82564F76}"/>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7878736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07BDF-0DC6-4F74-8B14-E351210BE5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11B0840-3B17-4228-9760-661821887C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013B82-944E-4EDA-9CC4-CEEFD1108E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C05FC84-FBD4-4FD8-9F22-EAD124951A64}"/>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6" name="Footer Placeholder 5">
            <a:extLst>
              <a:ext uri="{FF2B5EF4-FFF2-40B4-BE49-F238E27FC236}">
                <a16:creationId xmlns:a16="http://schemas.microsoft.com/office/drawing/2014/main" id="{3BCB9CD8-E21C-43FE-B1E9-71B96DE0AD1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08A434-6860-4BC1-8618-F71F1571D800}"/>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554791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824839" y="1287272"/>
            <a:ext cx="10173362" cy="5058664"/>
          </a:xfrm>
          <a:prstGeom prst="rect">
            <a:avLst/>
          </a:prstGeom>
        </p:spPr>
        <p:txBody>
          <a:bodyPr lIns="0" tIns="0" rIns="0" bIns="0"/>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824838" y="431674"/>
            <a:ext cx="8756073" cy="611649"/>
          </a:xfrm>
          <a:prstGeom prst="rect">
            <a:avLst/>
          </a:prstGeom>
        </p:spPr>
        <p:txBody>
          <a:bodyPr lIns="0" tIns="0" rIns="0" bIns="0"/>
          <a:lstStyle>
            <a:lvl1pPr>
              <a:defRPr sz="3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9247601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EFCB5-31FC-419C-AC35-F0464E955C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91FA884-9BBF-427B-A97E-B0D636495C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0B60C1-3987-405A-92A5-5DAF4B6B09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7093E1-C033-4B36-A735-62F822C6519C}"/>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6" name="Footer Placeholder 5">
            <a:extLst>
              <a:ext uri="{FF2B5EF4-FFF2-40B4-BE49-F238E27FC236}">
                <a16:creationId xmlns:a16="http://schemas.microsoft.com/office/drawing/2014/main" id="{0097AA1A-0579-44F4-929E-D951ABC87B4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0F2B1E6-8D73-4679-B4EB-7B0A45E83593}"/>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3654932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FC9B9-B34C-4303-BE25-AF7CEFA5A06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9E0E7C1-48C0-43FF-B6A0-F28BB00626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7E3812-D3F2-44CE-9003-9EA35ABEC0C7}"/>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5" name="Footer Placeholder 4">
            <a:extLst>
              <a:ext uri="{FF2B5EF4-FFF2-40B4-BE49-F238E27FC236}">
                <a16:creationId xmlns:a16="http://schemas.microsoft.com/office/drawing/2014/main" id="{29E1132D-A725-42EB-A77A-9060810C345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5424007-D937-463A-B429-5A71CBDE73FC}"/>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2820160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D9A6D6-B77F-4E57-AC9D-5A38FE84C7D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2A86155-83B6-43EA-9C6C-BD76C8A04B2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DA2BD3B-E041-4BD9-AD77-BAFBC64CD57D}"/>
              </a:ext>
            </a:extLst>
          </p:cNvPr>
          <p:cNvSpPr>
            <a:spLocks noGrp="1"/>
          </p:cNvSpPr>
          <p:nvPr>
            <p:ph type="dt" sz="half" idx="10"/>
          </p:nvPr>
        </p:nvSpPr>
        <p:spPr/>
        <p:txBody>
          <a:bodyPr/>
          <a:lstStyle/>
          <a:p>
            <a:fld id="{026C968B-3C60-4E9D-92DB-E538F4B5F570}" type="datetimeFigureOut">
              <a:rPr lang="en-GB" smtClean="0"/>
              <a:t>26/08/2021</a:t>
            </a:fld>
            <a:endParaRPr lang="en-GB"/>
          </a:p>
        </p:txBody>
      </p:sp>
      <p:sp>
        <p:nvSpPr>
          <p:cNvPr id="5" name="Footer Placeholder 4">
            <a:extLst>
              <a:ext uri="{FF2B5EF4-FFF2-40B4-BE49-F238E27FC236}">
                <a16:creationId xmlns:a16="http://schemas.microsoft.com/office/drawing/2014/main" id="{812A4ECC-B0BE-4585-9B9F-1E0143D9B3B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853A05-244D-4573-8A96-D4D006136A5F}"/>
              </a:ext>
            </a:extLst>
          </p:cNvPr>
          <p:cNvSpPr>
            <a:spLocks noGrp="1"/>
          </p:cNvSpPr>
          <p:nvPr>
            <p:ph type="sldNum" sz="quarter" idx="12"/>
          </p:nvPr>
        </p:nvSpPr>
        <p:spPr/>
        <p:txBody>
          <a:bodyPr/>
          <a:lstStyle/>
          <a:p>
            <a:fld id="{808A2487-990D-43AE-8BC0-79132A59DB39}" type="slidenum">
              <a:rPr lang="en-GB" smtClean="0"/>
              <a:t>‹#›</a:t>
            </a:fld>
            <a:endParaRPr lang="en-GB"/>
          </a:p>
        </p:txBody>
      </p:sp>
    </p:spTree>
    <p:extLst>
      <p:ext uri="{BB962C8B-B14F-4D97-AF65-F5344CB8AC3E}">
        <p14:creationId xmlns:p14="http://schemas.microsoft.com/office/powerpoint/2010/main" val="26254344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0" y="6213677"/>
            <a:ext cx="12211879" cy="413293"/>
          </a:xfrm>
          <a:prstGeom prst="rect">
            <a:avLst/>
          </a:prstGeom>
        </p:spPr>
      </p:pic>
    </p:spTree>
    <p:extLst>
      <p:ext uri="{BB962C8B-B14F-4D97-AF65-F5344CB8AC3E}">
        <p14:creationId xmlns:p14="http://schemas.microsoft.com/office/powerpoint/2010/main" val="38086503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4016960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609601" y="54864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21937440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5331A2B-AD00-2B42-B1FF-24F8580D91E1}" type="datetimeFigureOut">
              <a:rPr lang="en-US" smtClean="0"/>
              <a:t>8/2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33E7A-585A-624E-BDEE-7FCCEFCCB4F5}" type="slidenum">
              <a:rPr lang="en-US" smtClean="0"/>
              <a:t>‹#›</a:t>
            </a:fld>
            <a:endParaRPr lang="en-US"/>
          </a:p>
        </p:txBody>
      </p:sp>
      <p:pic>
        <p:nvPicPr>
          <p:cNvPr id="7" name="Picture 6" descr="A picture containing clipart&#10;&#10;Description generated with very high confidence">
            <a:extLst>
              <a:ext uri="{FF2B5EF4-FFF2-40B4-BE49-F238E27FC236}">
                <a16:creationId xmlns:a16="http://schemas.microsoft.com/office/drawing/2014/main" id="{97DD2A44-0163-4703-91CE-6DD06C271792}"/>
              </a:ext>
            </a:extLst>
          </p:cNvPr>
          <p:cNvPicPr>
            <a:picLocks noChangeAspect="1"/>
          </p:cNvPicPr>
          <p:nvPr userDrawn="1"/>
        </p:nvPicPr>
        <p:blipFill>
          <a:blip r:embed="rId2"/>
          <a:stretch>
            <a:fillRect/>
          </a:stretch>
        </p:blipFill>
        <p:spPr>
          <a:xfrm>
            <a:off x="10535749" y="230188"/>
            <a:ext cx="1308943" cy="528611"/>
          </a:xfrm>
          <a:prstGeom prst="rect">
            <a:avLst/>
          </a:prstGeom>
        </p:spPr>
      </p:pic>
    </p:spTree>
    <p:extLst>
      <p:ext uri="{BB962C8B-B14F-4D97-AF65-F5344CB8AC3E}">
        <p14:creationId xmlns:p14="http://schemas.microsoft.com/office/powerpoint/2010/main" val="4051077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fld id="{902D5018-2030-2046-84FC-87E41EA86E42}" type="slidenum">
              <a:rPr lang="en-US" smtClean="0"/>
              <a:pPr/>
              <a:t>‹#›</a:t>
            </a:fld>
            <a:endParaRPr lang="en-US" dirty="0"/>
          </a:p>
        </p:txBody>
      </p:sp>
      <p:sp>
        <p:nvSpPr>
          <p:cNvPr id="4" name="Content Placeholder 2"/>
          <p:cNvSpPr>
            <a:spLocks noGrp="1"/>
          </p:cNvSpPr>
          <p:nvPr>
            <p:ph idx="1"/>
          </p:nvPr>
        </p:nvSpPr>
        <p:spPr>
          <a:xfrm>
            <a:off x="609601" y="1680295"/>
            <a:ext cx="10455609"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Rectangle: Rounded Corners 6">
            <a:extLst>
              <a:ext uri="{FF2B5EF4-FFF2-40B4-BE49-F238E27FC236}">
                <a16:creationId xmlns:a16="http://schemas.microsoft.com/office/drawing/2014/main" id="{72130D69-BA3D-4C27-AB36-FF1B0807A9B8}"/>
              </a:ext>
            </a:extLst>
          </p:cNvPr>
          <p:cNvSpPr/>
          <p:nvPr userDrawn="1"/>
        </p:nvSpPr>
        <p:spPr>
          <a:xfrm>
            <a:off x="10491832" y="192947"/>
            <a:ext cx="1633057" cy="746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pic>
        <p:nvPicPr>
          <p:cNvPr id="8" name="Picture 7">
            <a:extLst>
              <a:ext uri="{FF2B5EF4-FFF2-40B4-BE49-F238E27FC236}">
                <a16:creationId xmlns:a16="http://schemas.microsoft.com/office/drawing/2014/main" id="{0D019886-F1F6-4B37-B6BC-17BA470068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18598" y="153351"/>
            <a:ext cx="1486695" cy="464365"/>
          </a:xfrm>
          <a:prstGeom prst="rect">
            <a:avLst/>
          </a:prstGeom>
        </p:spPr>
      </p:pic>
    </p:spTree>
    <p:extLst>
      <p:ext uri="{BB962C8B-B14F-4D97-AF65-F5344CB8AC3E}">
        <p14:creationId xmlns:p14="http://schemas.microsoft.com/office/powerpoint/2010/main" val="2296098763"/>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Click to add notes or sources</a:t>
            </a:r>
          </a:p>
        </p:txBody>
      </p:sp>
      <p:pic>
        <p:nvPicPr>
          <p:cNvPr id="7" name="Picture 6" descr="A picture containing clipart&#10;&#10;Description generated with very high confidence">
            <a:extLst>
              <a:ext uri="{FF2B5EF4-FFF2-40B4-BE49-F238E27FC236}">
                <a16:creationId xmlns:a16="http://schemas.microsoft.com/office/drawing/2014/main" id="{3A173791-3B9D-4F00-8D5D-E63A5024A710}"/>
              </a:ext>
            </a:extLst>
          </p:cNvPr>
          <p:cNvPicPr>
            <a:picLocks noChangeAspect="1"/>
          </p:cNvPicPr>
          <p:nvPr userDrawn="1"/>
        </p:nvPicPr>
        <p:blipFill>
          <a:blip r:embed="rId6"/>
          <a:stretch>
            <a:fillRect/>
          </a:stretch>
        </p:blipFill>
        <p:spPr>
          <a:xfrm>
            <a:off x="10535749" y="305703"/>
            <a:ext cx="1308943" cy="528611"/>
          </a:xfrm>
          <a:prstGeom prst="rect">
            <a:avLst/>
          </a:prstGeom>
        </p:spPr>
      </p:pic>
    </p:spTree>
    <p:extLst>
      <p:ext uri="{BB962C8B-B14F-4D97-AF65-F5344CB8AC3E}">
        <p14:creationId xmlns:p14="http://schemas.microsoft.com/office/powerpoint/2010/main" val="37199895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1BD80-6C12-489C-BBA6-AFB14CC74D3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FB36559-973C-4672-B30F-768369F78A5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2E3BB6B-8A82-4BCB-A083-8EA6FD8142A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2A18995-64A7-4CF5-94BE-F107C70167ED}"/>
              </a:ext>
            </a:extLst>
          </p:cNvPr>
          <p:cNvSpPr>
            <a:spLocks noGrp="1"/>
          </p:cNvSpPr>
          <p:nvPr>
            <p:ph type="dt" sz="half" idx="10"/>
          </p:nvPr>
        </p:nvSpPr>
        <p:spPr/>
        <p:txBody>
          <a:bodyPr/>
          <a:lstStyle/>
          <a:p>
            <a:fld id="{07D4C319-7086-4EC9-B28E-260FB0A1C3BC}" type="datetimeFigureOut">
              <a:rPr lang="en-GB" smtClean="0"/>
              <a:t>26/08/2021</a:t>
            </a:fld>
            <a:endParaRPr lang="en-GB"/>
          </a:p>
        </p:txBody>
      </p:sp>
      <p:sp>
        <p:nvSpPr>
          <p:cNvPr id="6" name="Footer Placeholder 5">
            <a:extLst>
              <a:ext uri="{FF2B5EF4-FFF2-40B4-BE49-F238E27FC236}">
                <a16:creationId xmlns:a16="http://schemas.microsoft.com/office/drawing/2014/main" id="{12BBD244-0476-49CC-B36D-8E4024C608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FFD9EA0-0032-4DB3-9CEA-F2EB0651A58F}"/>
              </a:ext>
            </a:extLst>
          </p:cNvPr>
          <p:cNvSpPr>
            <a:spLocks noGrp="1"/>
          </p:cNvSpPr>
          <p:nvPr>
            <p:ph type="sldNum" sz="quarter" idx="12"/>
          </p:nvPr>
        </p:nvSpPr>
        <p:spPr/>
        <p:txBody>
          <a:bodyPr/>
          <a:lstStyle/>
          <a:p>
            <a:fld id="{7915F8A8-C5E5-499E-B215-A4E4EA90DD79}" type="slidenum">
              <a:rPr lang="en-GB" smtClean="0"/>
              <a:t>‹#›</a:t>
            </a:fld>
            <a:endParaRPr lang="en-GB"/>
          </a:p>
        </p:txBody>
      </p:sp>
      <p:pic>
        <p:nvPicPr>
          <p:cNvPr id="8" name="Picture 7" descr="A picture containing clipart&#10;&#10;Description generated with very high confidence">
            <a:extLst>
              <a:ext uri="{FF2B5EF4-FFF2-40B4-BE49-F238E27FC236}">
                <a16:creationId xmlns:a16="http://schemas.microsoft.com/office/drawing/2014/main" id="{DA1842A4-799B-4DFC-BBBA-37E159907CF2}"/>
              </a:ext>
            </a:extLst>
          </p:cNvPr>
          <p:cNvPicPr>
            <a:picLocks noChangeAspect="1"/>
          </p:cNvPicPr>
          <p:nvPr userDrawn="1"/>
        </p:nvPicPr>
        <p:blipFill>
          <a:blip r:embed="rId2"/>
          <a:stretch>
            <a:fillRect/>
          </a:stretch>
        </p:blipFill>
        <p:spPr>
          <a:xfrm>
            <a:off x="10627189" y="237894"/>
            <a:ext cx="1308943" cy="528611"/>
          </a:xfrm>
          <a:prstGeom prst="rect">
            <a:avLst/>
          </a:prstGeom>
        </p:spPr>
      </p:pic>
    </p:spTree>
    <p:extLst>
      <p:ext uri="{BB962C8B-B14F-4D97-AF65-F5344CB8AC3E}">
        <p14:creationId xmlns:p14="http://schemas.microsoft.com/office/powerpoint/2010/main" val="1432684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FFE8F-58CF-4667-A338-3F63C8AF176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8106A57-3DBF-4EB9-9B89-C089C83615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DB47E12-5754-492C-B313-7A2EC651DF3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CCF368C-E09E-471B-9657-6137A1C9049D}" type="datetimeFigureOut">
              <a:rPr kumimoji="0" lang="en-GB"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08/2021</a:t>
            </a:fld>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25480BA-1B9E-45AA-973B-BF13A4B7BA3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25463"/>
              </a:solidFill>
              <a:effectLst/>
              <a:uLnTx/>
              <a:uFillTx/>
              <a:latin typeface="Arial" charset="0"/>
              <a:cs typeface="Arial" charset="0"/>
            </a:endParaRPr>
          </a:p>
        </p:txBody>
      </p:sp>
      <p:sp>
        <p:nvSpPr>
          <p:cNvPr id="6" name="Slide Number Placeholder 5">
            <a:extLst>
              <a:ext uri="{FF2B5EF4-FFF2-40B4-BE49-F238E27FC236}">
                <a16:creationId xmlns:a16="http://schemas.microsoft.com/office/drawing/2014/main" id="{FC430430-697F-4EAC-A855-8C8C19D1904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AD2B2F2-4161-4B3A-8541-59919F1C6B89}" type="slidenum">
              <a:rPr kumimoji="0" lang="en-GB"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19565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9193" y="3328836"/>
            <a:ext cx="10698408" cy="637242"/>
          </a:xfrm>
        </p:spPr>
        <p:txBody>
          <a:bodyPr/>
          <a:lstStyle>
            <a:lvl1pPr algn="l">
              <a:lnSpc>
                <a:spcPts val="5079"/>
              </a:lnSpc>
              <a:defRPr sz="4354"/>
            </a:lvl1pPr>
          </a:lstStyle>
          <a:p>
            <a:r>
              <a:rPr lang="en-US"/>
              <a:t>Click to edit Master title style</a:t>
            </a:r>
            <a:endParaRPr lang="en-GB"/>
          </a:p>
        </p:txBody>
      </p:sp>
      <p:sp>
        <p:nvSpPr>
          <p:cNvPr id="3" name="Subtitle 2"/>
          <p:cNvSpPr>
            <a:spLocks noGrp="1"/>
          </p:cNvSpPr>
          <p:nvPr>
            <p:ph type="subTitle" idx="1"/>
          </p:nvPr>
        </p:nvSpPr>
        <p:spPr>
          <a:xfrm>
            <a:off x="579192" y="3984329"/>
            <a:ext cx="8871780" cy="742962"/>
          </a:xfrm>
        </p:spPr>
        <p:txBody>
          <a:bodyPr/>
          <a:lstStyle>
            <a:lvl1pPr marL="0" indent="0" algn="l">
              <a:lnSpc>
                <a:spcPts val="4172"/>
              </a:lnSpc>
              <a:spcBef>
                <a:spcPts val="0"/>
              </a:spcBef>
              <a:buNone/>
              <a:defRPr sz="3265">
                <a:solidFill>
                  <a:schemeClr val="bg2"/>
                </a:solidFill>
                <a:latin typeface="Lato Light" panose="020F0502020204030203" pitchFamily="34" charset="0"/>
                <a:ea typeface="Lato Light" panose="020F0502020204030203" pitchFamily="34" charset="0"/>
                <a:cs typeface="Lato Light" panose="020F0502020204030203" pitchFamily="34" charset="0"/>
              </a:defRPr>
            </a:lvl1pPr>
            <a:lvl2pPr marL="473026" indent="0" algn="ctr">
              <a:buNone/>
              <a:defRPr>
                <a:solidFill>
                  <a:schemeClr val="tx1">
                    <a:tint val="75000"/>
                  </a:schemeClr>
                </a:solidFill>
              </a:defRPr>
            </a:lvl2pPr>
            <a:lvl3pPr marL="946052" indent="0" algn="ctr">
              <a:buNone/>
              <a:defRPr>
                <a:solidFill>
                  <a:schemeClr val="tx1">
                    <a:tint val="75000"/>
                  </a:schemeClr>
                </a:solidFill>
              </a:defRPr>
            </a:lvl3pPr>
            <a:lvl4pPr marL="1419078" indent="0" algn="ctr">
              <a:buNone/>
              <a:defRPr>
                <a:solidFill>
                  <a:schemeClr val="tx1">
                    <a:tint val="75000"/>
                  </a:schemeClr>
                </a:solidFill>
              </a:defRPr>
            </a:lvl4pPr>
            <a:lvl5pPr marL="1892104" indent="0" algn="ctr">
              <a:buNone/>
              <a:defRPr>
                <a:solidFill>
                  <a:schemeClr val="tx1">
                    <a:tint val="75000"/>
                  </a:schemeClr>
                </a:solidFill>
              </a:defRPr>
            </a:lvl5pPr>
            <a:lvl6pPr marL="2365129" indent="0" algn="ctr">
              <a:buNone/>
              <a:defRPr>
                <a:solidFill>
                  <a:schemeClr val="tx1">
                    <a:tint val="75000"/>
                  </a:schemeClr>
                </a:solidFill>
              </a:defRPr>
            </a:lvl6pPr>
            <a:lvl7pPr marL="2838155" indent="0" algn="ctr">
              <a:buNone/>
              <a:defRPr>
                <a:solidFill>
                  <a:schemeClr val="tx1">
                    <a:tint val="75000"/>
                  </a:schemeClr>
                </a:solidFill>
              </a:defRPr>
            </a:lvl7pPr>
            <a:lvl8pPr marL="3311181" indent="0" algn="ctr">
              <a:buNone/>
              <a:defRPr>
                <a:solidFill>
                  <a:schemeClr val="tx1">
                    <a:tint val="75000"/>
                  </a:schemeClr>
                </a:solidFill>
              </a:defRPr>
            </a:lvl8pPr>
            <a:lvl9pPr marL="3784207" indent="0" algn="ctr">
              <a:buNone/>
              <a:defRPr>
                <a:solidFill>
                  <a:schemeClr val="tx1">
                    <a:tint val="75000"/>
                  </a:schemeClr>
                </a:solidFill>
              </a:defRPr>
            </a:lvl9pPr>
          </a:lstStyle>
          <a:p>
            <a:r>
              <a:rPr lang="en-US"/>
              <a:t>Click to edit Master subtitle style</a:t>
            </a:r>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851" y="334898"/>
            <a:ext cx="3891078" cy="600504"/>
          </a:xfrm>
          <a:prstGeom prst="rect">
            <a:avLst/>
          </a:prstGeom>
        </p:spPr>
      </p:pic>
      <p:sp>
        <p:nvSpPr>
          <p:cNvPr id="8" name="TextBox 7"/>
          <p:cNvSpPr txBox="1"/>
          <p:nvPr userDrawn="1"/>
        </p:nvSpPr>
        <p:spPr>
          <a:xfrm>
            <a:off x="607151" y="6378764"/>
            <a:ext cx="3976601" cy="195438"/>
          </a:xfrm>
          <a:prstGeom prst="rect">
            <a:avLst/>
          </a:prstGeom>
          <a:noFill/>
        </p:spPr>
        <p:txBody>
          <a:bodyPr wrap="none" lIns="0" tIns="0" rIns="0" bIns="0" rtlCol="0">
            <a:spAutoFit/>
          </a:bodyPr>
          <a:lstStyle/>
          <a:p>
            <a:r>
              <a:rPr lang="en-GB" sz="1270" spc="0" baseline="0" dirty="0">
                <a:solidFill>
                  <a:srgbClr val="757474"/>
                </a:solidFill>
              </a:rPr>
              <a:t>© NICE 2019. All rights reserved. Subject to notice of rights. </a:t>
            </a:r>
            <a:endParaRPr lang="en-US" sz="1270" spc="0" baseline="0" dirty="0">
              <a:solidFill>
                <a:srgbClr val="757474"/>
              </a:solidFill>
            </a:endParaRPr>
          </a:p>
        </p:txBody>
      </p:sp>
      <p:sp>
        <p:nvSpPr>
          <p:cNvPr id="10" name="Text Placeholder 9"/>
          <p:cNvSpPr>
            <a:spLocks noGrp="1"/>
          </p:cNvSpPr>
          <p:nvPr>
            <p:ph type="body" sz="quarter" idx="13"/>
          </p:nvPr>
        </p:nvSpPr>
        <p:spPr>
          <a:xfrm>
            <a:off x="568107" y="2667832"/>
            <a:ext cx="9430985" cy="632213"/>
          </a:xfrm>
        </p:spPr>
        <p:txBody>
          <a:bodyPr/>
          <a:lstStyle>
            <a:lvl1pPr marL="0" indent="0">
              <a:lnSpc>
                <a:spcPts val="5079"/>
              </a:lnSpc>
              <a:defRPr sz="4354">
                <a:solidFill>
                  <a:schemeClr val="bg2"/>
                </a:solidFill>
                <a:latin typeface="Lato Light" panose="020F0502020204030203" pitchFamily="34" charset="0"/>
                <a:ea typeface="Lato Light" panose="020F0502020204030203" pitchFamily="34" charset="0"/>
                <a:cs typeface="Lato Light" panose="020F0502020204030203" pitchFamily="34" charset="0"/>
              </a:defRPr>
            </a:lvl1pPr>
          </a:lstStyle>
          <a:p>
            <a:pPr lvl="0"/>
            <a:r>
              <a:rPr lang="en-US"/>
              <a:t>Click to edit Master text styles</a:t>
            </a:r>
          </a:p>
        </p:txBody>
      </p:sp>
      <p:pic>
        <p:nvPicPr>
          <p:cNvPr id="7" name="Picture 6" descr="A picture containing clipart&#10;&#10;Description generated with very high confidence">
            <a:extLst>
              <a:ext uri="{FF2B5EF4-FFF2-40B4-BE49-F238E27FC236}">
                <a16:creationId xmlns:a16="http://schemas.microsoft.com/office/drawing/2014/main" id="{14A5D23C-4907-451D-8AA7-90A06D42B928}"/>
              </a:ext>
            </a:extLst>
          </p:cNvPr>
          <p:cNvPicPr>
            <a:picLocks noChangeAspect="1"/>
          </p:cNvPicPr>
          <p:nvPr userDrawn="1"/>
        </p:nvPicPr>
        <p:blipFill>
          <a:blip r:embed="rId3"/>
          <a:stretch>
            <a:fillRect/>
          </a:stretch>
        </p:blipFill>
        <p:spPr>
          <a:xfrm>
            <a:off x="10627189" y="237894"/>
            <a:ext cx="1308943" cy="528611"/>
          </a:xfrm>
          <a:prstGeom prst="rect">
            <a:avLst/>
          </a:prstGeom>
        </p:spPr>
      </p:pic>
    </p:spTree>
    <p:extLst>
      <p:ext uri="{BB962C8B-B14F-4D97-AF65-F5344CB8AC3E}">
        <p14:creationId xmlns:p14="http://schemas.microsoft.com/office/powerpoint/2010/main" val="721970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7B3DE-7B49-487B-9493-418E709AE06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61F730D-E75A-4ABD-8D3B-6A987A1A0ED2}"/>
              </a:ext>
            </a:extLst>
          </p:cNvPr>
          <p:cNvSpPr>
            <a:spLocks noGrp="1"/>
          </p:cNvSpPr>
          <p:nvPr>
            <p:ph type="dt" sz="half" idx="10"/>
          </p:nvPr>
        </p:nvSpPr>
        <p:spPr/>
        <p:txBody>
          <a:bodyPr/>
          <a:lstStyle/>
          <a:p>
            <a:fld id="{07D4C319-7086-4EC9-B28E-260FB0A1C3BC}" type="datetimeFigureOut">
              <a:rPr lang="en-GB" smtClean="0"/>
              <a:t>26/08/2021</a:t>
            </a:fld>
            <a:endParaRPr lang="en-GB"/>
          </a:p>
        </p:txBody>
      </p:sp>
      <p:sp>
        <p:nvSpPr>
          <p:cNvPr id="4" name="Footer Placeholder 3">
            <a:extLst>
              <a:ext uri="{FF2B5EF4-FFF2-40B4-BE49-F238E27FC236}">
                <a16:creationId xmlns:a16="http://schemas.microsoft.com/office/drawing/2014/main" id="{3AA853C1-B43C-4A1C-AF06-47D37477BC5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0304DAF-C127-4177-9579-A8C2E6AE8E28}"/>
              </a:ext>
            </a:extLst>
          </p:cNvPr>
          <p:cNvSpPr>
            <a:spLocks noGrp="1"/>
          </p:cNvSpPr>
          <p:nvPr>
            <p:ph type="sldNum" sz="quarter" idx="12"/>
          </p:nvPr>
        </p:nvSpPr>
        <p:spPr/>
        <p:txBody>
          <a:bodyPr/>
          <a:lstStyle/>
          <a:p>
            <a:fld id="{7915F8A8-C5E5-499E-B215-A4E4EA90DD79}" type="slidenum">
              <a:rPr lang="en-GB" smtClean="0"/>
              <a:t>‹#›</a:t>
            </a:fld>
            <a:endParaRPr lang="en-GB"/>
          </a:p>
        </p:txBody>
      </p:sp>
      <p:pic>
        <p:nvPicPr>
          <p:cNvPr id="6" name="Picture 5" descr="A picture containing clipart&#10;&#10;Description generated with very high confidence">
            <a:extLst>
              <a:ext uri="{FF2B5EF4-FFF2-40B4-BE49-F238E27FC236}">
                <a16:creationId xmlns:a16="http://schemas.microsoft.com/office/drawing/2014/main" id="{44C8F82B-A096-4444-83BA-76F9AB8CED74}"/>
              </a:ext>
            </a:extLst>
          </p:cNvPr>
          <p:cNvPicPr>
            <a:picLocks noChangeAspect="1"/>
          </p:cNvPicPr>
          <p:nvPr userDrawn="1"/>
        </p:nvPicPr>
        <p:blipFill>
          <a:blip r:embed="rId2"/>
          <a:stretch>
            <a:fillRect/>
          </a:stretch>
        </p:blipFill>
        <p:spPr>
          <a:xfrm>
            <a:off x="10627189" y="237894"/>
            <a:ext cx="1308943" cy="528611"/>
          </a:xfrm>
          <a:prstGeom prst="rect">
            <a:avLst/>
          </a:prstGeom>
        </p:spPr>
      </p:pic>
    </p:spTree>
    <p:extLst>
      <p:ext uri="{BB962C8B-B14F-4D97-AF65-F5344CB8AC3E}">
        <p14:creationId xmlns:p14="http://schemas.microsoft.com/office/powerpoint/2010/main" val="28478087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109980" y="882376"/>
            <a:ext cx="9966960" cy="2926080"/>
          </a:xfrm>
        </p:spPr>
        <p:txBody>
          <a:bodyPr anchor="b">
            <a:normAutofit/>
          </a:bodyPr>
          <a:lstStyle>
            <a:lvl1pPr algn="ctr">
              <a:lnSpc>
                <a:spcPct val="85000"/>
              </a:lnSpc>
              <a:defRPr sz="7200" b="1" cap="all"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709530" y="3869634"/>
            <a:ext cx="8767860" cy="1388165"/>
          </a:xfrm>
        </p:spPr>
        <p:txBody>
          <a:bodyPr>
            <a:normAutofit/>
          </a:bodyPr>
          <a:lstStyle>
            <a:lvl1pPr marL="0" indent="0" algn="ctr">
              <a:buNone/>
              <a:defRPr sz="2200">
                <a:solidFill>
                  <a:srgbClr val="FFFFFF"/>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rgbClr val="FFFFFF"/>
                </a:solidFill>
              </a:defRPr>
            </a:lvl1pPr>
          </a:lstStyle>
          <a:p>
            <a:fld id="{96DFF08F-DC6B-4601-B491-B0F83F6DD2DA}" type="datetimeFigureOut">
              <a:rPr lang="en-US" smtClean="0"/>
              <a:t>8/26/2021</a:t>
            </a:fld>
            <a:endParaRPr lang="en-US" dirty="0"/>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4FAB73BC-B049-4115-A692-8D63A059BFB8}" type="slidenum">
              <a:rPr lang="en-US" smtClean="0"/>
              <a:t>‹#›</a:t>
            </a:fld>
            <a:endParaRPr lang="en-US" dirty="0"/>
          </a:p>
        </p:txBody>
      </p:sp>
      <p:cxnSp>
        <p:nvCxnSpPr>
          <p:cNvPr id="8" name="Straight Connector 7"/>
          <p:cNvCxnSpPr/>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Content Placeholder 16">
            <a:extLst>
              <a:ext uri="{FF2B5EF4-FFF2-40B4-BE49-F238E27FC236}">
                <a16:creationId xmlns:a16="http://schemas.microsoft.com/office/drawing/2014/main" id="{C7099F5D-F02C-4620-8BA7-12B348171BF0}"/>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10" name="Text Box 4">
            <a:extLst>
              <a:ext uri="{FF2B5EF4-FFF2-40B4-BE49-F238E27FC236}">
                <a16:creationId xmlns:a16="http://schemas.microsoft.com/office/drawing/2014/main" id="{259F0928-264C-492C-84EC-8ABEE3D42898}"/>
              </a:ext>
            </a:extLst>
          </p:cNvPr>
          <p:cNvSpPr txBox="1"/>
          <p:nvPr userDrawn="1"/>
        </p:nvSpPr>
        <p:spPr>
          <a:xfrm>
            <a:off x="3434080" y="5874443"/>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60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11" name="Picture 10">
            <a:extLst>
              <a:ext uri="{FF2B5EF4-FFF2-40B4-BE49-F238E27FC236}">
                <a16:creationId xmlns:a16="http://schemas.microsoft.com/office/drawing/2014/main" id="{68965FC2-DA36-4EB3-84C3-97640F9BC3A8}"/>
              </a:ext>
            </a:extLst>
          </p:cNvPr>
          <p:cNvPicPr>
            <a:picLocks noChangeAspect="1"/>
          </p:cNvPicPr>
          <p:nvPr userDrawn="1"/>
        </p:nvPicPr>
        <p:blipFill>
          <a:blip r:embed="rId3"/>
          <a:stretch>
            <a:fillRect/>
          </a:stretch>
        </p:blipFill>
        <p:spPr>
          <a:xfrm>
            <a:off x="10661939" y="429490"/>
            <a:ext cx="1072861" cy="436418"/>
          </a:xfrm>
          <a:prstGeom prst="rect">
            <a:avLst/>
          </a:prstGeom>
        </p:spPr>
      </p:pic>
    </p:spTree>
    <p:extLst>
      <p:ext uri="{BB962C8B-B14F-4D97-AF65-F5344CB8AC3E}">
        <p14:creationId xmlns:p14="http://schemas.microsoft.com/office/powerpoint/2010/main" val="10561465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5" name="Footer Placeholder 4"/>
          <p:cNvSpPr>
            <a:spLocks noGrp="1"/>
          </p:cNvSpPr>
          <p:nvPr>
            <p:ph type="ftr" sz="quarter" idx="11"/>
          </p:nvPr>
        </p:nvSpPr>
        <p:spPr/>
        <p:txBody>
          <a:bodyPr/>
          <a:lstStyle/>
          <a:p>
            <a:r>
              <a:rPr lang="en-GB"/>
              <a:t>#beneficialchanges</a:t>
            </a:r>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331257057"/>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06424" y="1173575"/>
            <a:ext cx="9966960" cy="2926080"/>
          </a:xfrm>
        </p:spPr>
        <p:txBody>
          <a:bodyPr anchor="b">
            <a:noAutofit/>
          </a:bodyPr>
          <a:lstStyle>
            <a:lvl1pPr algn="ctr">
              <a:lnSpc>
                <a:spcPct val="85000"/>
              </a:lnSpc>
              <a:defRPr sz="7200" b="0" cap="all" baseline="0"/>
            </a:lvl1pPr>
          </a:lstStyle>
          <a:p>
            <a:r>
              <a:rPr lang="en-US"/>
              <a:t>Click to edit Master title style</a:t>
            </a:r>
            <a:endParaRPr lang="en-US" dirty="0"/>
          </a:p>
        </p:txBody>
      </p:sp>
      <p:sp>
        <p:nvSpPr>
          <p:cNvPr id="3" name="Text Placeholder 2"/>
          <p:cNvSpPr>
            <a:spLocks noGrp="1"/>
          </p:cNvSpPr>
          <p:nvPr>
            <p:ph type="body" idx="1"/>
          </p:nvPr>
        </p:nvSpPr>
        <p:spPr>
          <a:xfrm>
            <a:off x="1709928" y="4154520"/>
            <a:ext cx="8769096" cy="1363806"/>
          </a:xfrm>
        </p:spPr>
        <p:txBody>
          <a:bodyPr anchor="t">
            <a:normAutofit/>
          </a:bodyPr>
          <a:lstStyle>
            <a:lvl1pPr marL="0" indent="0" algn="ctr">
              <a:buNone/>
              <a:defRPr sz="22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5" name="Footer Placeholder 4"/>
          <p:cNvSpPr>
            <a:spLocks noGrp="1"/>
          </p:cNvSpPr>
          <p:nvPr>
            <p:ph type="ftr" sz="quarter" idx="11"/>
          </p:nvPr>
        </p:nvSpPr>
        <p:spPr/>
        <p:txBody>
          <a:bodyPr/>
          <a:lstStyle/>
          <a:p>
            <a:r>
              <a:rPr lang="en-GB"/>
              <a:t>#beneficialchanges</a:t>
            </a:r>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cxnSp>
        <p:nvCxnSpPr>
          <p:cNvPr id="7" name="Straight Connector 6"/>
          <p:cNvCxnSpPr/>
          <p:nvPr/>
        </p:nvCxnSpPr>
        <p:spPr>
          <a:xfrm>
            <a:off x="1981200" y="4020408"/>
            <a:ext cx="82296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976700"/>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3000" y="2057399"/>
            <a:ext cx="4754880" cy="40233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67612" y="2057400"/>
            <a:ext cx="4754880" cy="40233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6" name="Footer Placeholder 5"/>
          <p:cNvSpPr>
            <a:spLocks noGrp="1"/>
          </p:cNvSpPr>
          <p:nvPr>
            <p:ph type="ftr" sz="quarter" idx="11"/>
          </p:nvPr>
        </p:nvSpPr>
        <p:spPr/>
        <p:txBody>
          <a:bodyPr/>
          <a:lstStyle/>
          <a:p>
            <a:r>
              <a:rPr lang="en-GB"/>
              <a:t>#beneficialchanges</a:t>
            </a:r>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444826022"/>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143000" y="2001511"/>
            <a:ext cx="4754880" cy="777240"/>
          </a:xfrm>
        </p:spPr>
        <p:txBody>
          <a:bodyPr anchor="ct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3000" y="2721483"/>
            <a:ext cx="4754880" cy="33832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69173" y="1999032"/>
            <a:ext cx="4754880" cy="777240"/>
          </a:xfrm>
        </p:spPr>
        <p:txBody>
          <a:bodyPr anchor="ct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69173" y="2719322"/>
            <a:ext cx="4754880" cy="33832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8" name="Footer Placeholder 7"/>
          <p:cNvSpPr>
            <a:spLocks noGrp="1"/>
          </p:cNvSpPr>
          <p:nvPr>
            <p:ph type="ftr" sz="quarter" idx="11"/>
          </p:nvPr>
        </p:nvSpPr>
        <p:spPr/>
        <p:txBody>
          <a:bodyPr/>
          <a:lstStyle/>
          <a:p>
            <a:r>
              <a:rPr lang="en-GB"/>
              <a:t>#beneficialchanges</a:t>
            </a:r>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5765902"/>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4" name="Footer Placeholder 3"/>
          <p:cNvSpPr>
            <a:spLocks noGrp="1"/>
          </p:cNvSpPr>
          <p:nvPr>
            <p:ph type="ftr" sz="quarter" idx="11"/>
          </p:nvPr>
        </p:nvSpPr>
        <p:spPr/>
        <p:txBody>
          <a:bodyPr/>
          <a:lstStyle/>
          <a:p>
            <a:r>
              <a:rPr lang="en-GB"/>
              <a:t>#beneficialchanges</a:t>
            </a:r>
            <a:endParaRPr lang="en-US"/>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34252967"/>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1246652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a:t>Click to edit Master title style</a:t>
            </a:r>
            <a:endParaRPr lang="en-US" dirty="0"/>
          </a:p>
        </p:txBody>
      </p:sp>
      <p:sp>
        <p:nvSpPr>
          <p:cNvPr id="3" name="Content Placeholder 2"/>
          <p:cNvSpPr>
            <a:spLocks noGrp="1"/>
          </p:cNvSpPr>
          <p:nvPr>
            <p:ph idx="1"/>
          </p:nvPr>
        </p:nvSpPr>
        <p:spPr>
          <a:xfrm>
            <a:off x="5852159" y="1097280"/>
            <a:ext cx="5212080" cy="46634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3000" y="2834640"/>
            <a:ext cx="3931920" cy="301752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6" name="Footer Placeholder 5"/>
          <p:cNvSpPr>
            <a:spLocks noGrp="1"/>
          </p:cNvSpPr>
          <p:nvPr>
            <p:ph type="ftr" sz="quarter" idx="11"/>
          </p:nvPr>
        </p:nvSpPr>
        <p:spPr/>
        <p:txBody>
          <a:bodyPr/>
          <a:lstStyle/>
          <a:p>
            <a:r>
              <a:rPr lang="en-GB"/>
              <a:t>#beneficialchanges</a:t>
            </a:r>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136573846"/>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3421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5413248" y="1069847"/>
            <a:ext cx="6099048" cy="4800600"/>
          </a:xfrm>
        </p:spPr>
        <p:txBody>
          <a:bodyPr lIns="274320" tIns="182880" anchor="t">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3000" y="2834640"/>
            <a:ext cx="3931920" cy="288036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6" name="Footer Placeholder 5"/>
          <p:cNvSpPr>
            <a:spLocks noGrp="1"/>
          </p:cNvSpPr>
          <p:nvPr>
            <p:ph type="ftr" sz="quarter" idx="11"/>
          </p:nvPr>
        </p:nvSpPr>
        <p:spPr/>
        <p:txBody>
          <a:bodyPr/>
          <a:lstStyle/>
          <a:p>
            <a:r>
              <a:rPr lang="en-GB"/>
              <a:t>#beneficialchanges</a:t>
            </a:r>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505459765"/>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5" name="Footer Placeholder 4"/>
          <p:cNvSpPr>
            <a:spLocks noGrp="1"/>
          </p:cNvSpPr>
          <p:nvPr>
            <p:ph type="ftr" sz="quarter" idx="11"/>
          </p:nvPr>
        </p:nvSpPr>
        <p:spPr/>
        <p:txBody>
          <a:bodyPr/>
          <a:lstStyle/>
          <a:p>
            <a:r>
              <a:rPr lang="en-GB"/>
              <a:t>#beneficialchanges</a:t>
            </a:r>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738265064"/>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762000"/>
            <a:ext cx="2324100" cy="54102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3000" y="762000"/>
            <a:ext cx="74295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smtClean="0"/>
              <a:t>8/26/2021</a:t>
            </a:fld>
            <a:endParaRPr lang="en-US" dirty="0"/>
          </a:p>
        </p:txBody>
      </p:sp>
      <p:sp>
        <p:nvSpPr>
          <p:cNvPr id="5" name="Footer Placeholder 4"/>
          <p:cNvSpPr>
            <a:spLocks noGrp="1"/>
          </p:cNvSpPr>
          <p:nvPr>
            <p:ph type="ftr" sz="quarter" idx="11"/>
          </p:nvPr>
        </p:nvSpPr>
        <p:spPr/>
        <p:txBody>
          <a:bodyPr/>
          <a:lstStyle/>
          <a:p>
            <a:r>
              <a:rPr lang="en-GB"/>
              <a:t>#beneficialchanges</a:t>
            </a:r>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574498662"/>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824839" y="1287272"/>
            <a:ext cx="10173362" cy="5058664"/>
          </a:xfrm>
          <a:prstGeom prst="rect">
            <a:avLst/>
          </a:prstGeom>
        </p:spPr>
        <p:txBody>
          <a:bodyPr lIns="0" tIns="0" rIns="0" bIns="0"/>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824838" y="431674"/>
            <a:ext cx="8756073" cy="611649"/>
          </a:xfrm>
          <a:prstGeom prst="rect">
            <a:avLst/>
          </a:prstGeom>
        </p:spPr>
        <p:txBody>
          <a:bodyPr lIns="0" tIns="0" rIns="0" bIns="0"/>
          <a:lstStyle>
            <a:lvl1pPr>
              <a:defRPr sz="3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37421250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874443"/>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60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10" name="Picture 9">
            <a:extLst>
              <a:ext uri="{FF2B5EF4-FFF2-40B4-BE49-F238E27FC236}">
                <a16:creationId xmlns:a16="http://schemas.microsoft.com/office/drawing/2014/main" id="{C88DBB3D-99E2-5A4D-BAC7-8EC7C808598B}"/>
              </a:ext>
            </a:extLst>
          </p:cNvPr>
          <p:cNvPicPr>
            <a:picLocks noChangeAspect="1"/>
          </p:cNvPicPr>
          <p:nvPr userDrawn="1"/>
        </p:nvPicPr>
        <p:blipFill>
          <a:blip r:embed="rId3"/>
          <a:stretch>
            <a:fillRect/>
          </a:stretch>
        </p:blipFill>
        <p:spPr>
          <a:xfrm>
            <a:off x="10661939" y="429490"/>
            <a:ext cx="1072861" cy="436418"/>
          </a:xfrm>
          <a:prstGeom prst="rect">
            <a:avLst/>
          </a:prstGeom>
        </p:spPr>
      </p:pic>
    </p:spTree>
    <p:extLst>
      <p:ext uri="{BB962C8B-B14F-4D97-AF65-F5344CB8AC3E}">
        <p14:creationId xmlns:p14="http://schemas.microsoft.com/office/powerpoint/2010/main" val="28314974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874443"/>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6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10" name="Picture 9">
            <a:extLst>
              <a:ext uri="{FF2B5EF4-FFF2-40B4-BE49-F238E27FC236}">
                <a16:creationId xmlns:a16="http://schemas.microsoft.com/office/drawing/2014/main" id="{C88DBB3D-99E2-5A4D-BAC7-8EC7C808598B}"/>
              </a:ext>
            </a:extLst>
          </p:cNvPr>
          <p:cNvPicPr>
            <a:picLocks noChangeAspect="1"/>
          </p:cNvPicPr>
          <p:nvPr userDrawn="1"/>
        </p:nvPicPr>
        <p:blipFill>
          <a:blip r:embed="rId3"/>
          <a:stretch>
            <a:fillRect/>
          </a:stretch>
        </p:blipFill>
        <p:spPr>
          <a:xfrm>
            <a:off x="10661939" y="429490"/>
            <a:ext cx="1072861" cy="436418"/>
          </a:xfrm>
          <a:prstGeom prst="rect">
            <a:avLst/>
          </a:prstGeom>
        </p:spPr>
      </p:pic>
    </p:spTree>
    <p:extLst>
      <p:ext uri="{BB962C8B-B14F-4D97-AF65-F5344CB8AC3E}">
        <p14:creationId xmlns:p14="http://schemas.microsoft.com/office/powerpoint/2010/main" val="31800553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824839" y="1287272"/>
            <a:ext cx="10173362" cy="5058664"/>
          </a:xfrm>
          <a:prstGeom prst="rect">
            <a:avLst/>
          </a:prstGeom>
        </p:spPr>
        <p:txBody>
          <a:bodyPr lIns="0" tIns="0" rIns="0" bIns="0"/>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824838" y="431674"/>
            <a:ext cx="8756073" cy="611649"/>
          </a:xfrm>
          <a:prstGeom prst="rect">
            <a:avLst/>
          </a:prstGeom>
        </p:spPr>
        <p:txBody>
          <a:bodyPr lIns="0" tIns="0" rIns="0" bIns="0"/>
          <a:lstStyle>
            <a:lvl1pPr>
              <a:defRPr sz="3200" b="1">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23738801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78362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23841-6708-4D16-B527-E995F8EF212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DA51314-3683-4CDC-82F0-E28D1AA6861B}"/>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541CE5B9-A532-4622-A288-C2E9F5F3C39B}"/>
              </a:ext>
            </a:extLst>
          </p:cNvPr>
          <p:cNvSpPr>
            <a:spLocks noGrp="1"/>
          </p:cNvSpPr>
          <p:nvPr>
            <p:ph type="dt" sz="half" idx="10"/>
          </p:nvPr>
        </p:nvSpPr>
        <p:spPr/>
        <p:txBody>
          <a:bodyPr/>
          <a:lstStyle/>
          <a:p>
            <a:fld id="{B3F1828C-DA02-41BB-A1E4-31D4B7B48404}" type="datetimeFigureOut">
              <a:rPr lang="en-GB" smtClean="0"/>
              <a:t>26/08/2021</a:t>
            </a:fld>
            <a:endParaRPr lang="en-GB"/>
          </a:p>
        </p:txBody>
      </p:sp>
      <p:sp>
        <p:nvSpPr>
          <p:cNvPr id="6" name="Slide Number Placeholder 5">
            <a:extLst>
              <a:ext uri="{FF2B5EF4-FFF2-40B4-BE49-F238E27FC236}">
                <a16:creationId xmlns:a16="http://schemas.microsoft.com/office/drawing/2014/main" id="{8ECEC95F-591C-457F-BBC6-FC8CB7DD01F9}"/>
              </a:ext>
            </a:extLst>
          </p:cNvPr>
          <p:cNvSpPr>
            <a:spLocks noGrp="1"/>
          </p:cNvSpPr>
          <p:nvPr>
            <p:ph type="sldNum" sz="quarter" idx="12"/>
          </p:nvPr>
        </p:nvSpPr>
        <p:spPr/>
        <p:txBody>
          <a:bodyPr/>
          <a:lstStyle/>
          <a:p>
            <a:fld id="{34F33572-2535-4912-AB1F-47A176922FAB}" type="slidenum">
              <a:rPr lang="en-GB" smtClean="0"/>
              <a:t>‹#›</a:t>
            </a:fld>
            <a:endParaRPr lang="en-GB"/>
          </a:p>
        </p:txBody>
      </p:sp>
      <p:sp>
        <p:nvSpPr>
          <p:cNvPr id="7" name="Footer Placeholder 2">
            <a:extLst>
              <a:ext uri="{FF2B5EF4-FFF2-40B4-BE49-F238E27FC236}">
                <a16:creationId xmlns:a16="http://schemas.microsoft.com/office/drawing/2014/main" id="{26473101-F83D-5148-BC64-323AB18FA914}"/>
              </a:ext>
            </a:extLst>
          </p:cNvPr>
          <p:cNvSpPr>
            <a:spLocks noGrp="1"/>
          </p:cNvSpPr>
          <p:nvPr>
            <p:ph type="ftr" sz="quarter" idx="3"/>
          </p:nvPr>
        </p:nvSpPr>
        <p:spPr>
          <a:xfrm>
            <a:off x="824838" y="6333440"/>
            <a:ext cx="7726949" cy="365125"/>
          </a:xfrm>
          <a:prstGeom prst="rect">
            <a:avLst/>
          </a:prstGeom>
        </p:spPr>
        <p:txBody>
          <a:bodyPr vert="horz" lIns="0" tIns="0" rIns="0" bIns="0" rtlCol="0" anchor="ctr"/>
          <a:lstStyle>
            <a:lvl1pPr algn="l">
              <a:defRPr sz="1200" b="0">
                <a:solidFill>
                  <a:schemeClr val="accent3"/>
                </a:solidFill>
                <a:latin typeface="Arial" charset="0"/>
                <a:ea typeface="Arial" charset="0"/>
                <a:cs typeface="Arial" charset="0"/>
              </a:defRPr>
            </a:lvl1pPr>
          </a:lstStyle>
          <a:p>
            <a:r>
              <a:rPr lang="en-US" dirty="0"/>
              <a:t>Beneficial Changes Steering Group</a:t>
            </a:r>
          </a:p>
        </p:txBody>
      </p:sp>
    </p:spTree>
    <p:extLst>
      <p:ext uri="{BB962C8B-B14F-4D97-AF65-F5344CB8AC3E}">
        <p14:creationId xmlns:p14="http://schemas.microsoft.com/office/powerpoint/2010/main" val="2150779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874443"/>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60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10" name="Picture 9">
            <a:extLst>
              <a:ext uri="{FF2B5EF4-FFF2-40B4-BE49-F238E27FC236}">
                <a16:creationId xmlns:a16="http://schemas.microsoft.com/office/drawing/2014/main" id="{C88DBB3D-99E2-5A4D-BAC7-8EC7C808598B}"/>
              </a:ext>
            </a:extLst>
          </p:cNvPr>
          <p:cNvPicPr>
            <a:picLocks noChangeAspect="1"/>
          </p:cNvPicPr>
          <p:nvPr userDrawn="1"/>
        </p:nvPicPr>
        <p:blipFill>
          <a:blip r:embed="rId3"/>
          <a:stretch>
            <a:fillRect/>
          </a:stretch>
        </p:blipFill>
        <p:spPr>
          <a:xfrm>
            <a:off x="10661939" y="429490"/>
            <a:ext cx="1072861" cy="436418"/>
          </a:xfrm>
          <a:prstGeom prst="rect">
            <a:avLst/>
          </a:prstGeom>
        </p:spPr>
      </p:pic>
    </p:spTree>
    <p:extLst>
      <p:ext uri="{BB962C8B-B14F-4D97-AF65-F5344CB8AC3E}">
        <p14:creationId xmlns:p14="http://schemas.microsoft.com/office/powerpoint/2010/main" val="31580857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824839" y="1287272"/>
            <a:ext cx="10173362" cy="5058664"/>
          </a:xfrm>
          <a:prstGeom prst="rect">
            <a:avLst/>
          </a:prstGeom>
        </p:spPr>
        <p:txBody>
          <a:bodyPr lIns="0" tIns="0" rIns="0" bIns="0"/>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824838" y="431674"/>
            <a:ext cx="8756073" cy="611649"/>
          </a:xfrm>
          <a:prstGeom prst="rect">
            <a:avLst/>
          </a:prstGeom>
        </p:spPr>
        <p:txBody>
          <a:bodyPr lIns="0" tIns="0" rIns="0" bIns="0"/>
          <a:lstStyle>
            <a:lvl1pPr>
              <a:defRPr sz="3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39921984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4920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874443"/>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60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10" name="Picture 9">
            <a:extLst>
              <a:ext uri="{FF2B5EF4-FFF2-40B4-BE49-F238E27FC236}">
                <a16:creationId xmlns:a16="http://schemas.microsoft.com/office/drawing/2014/main" id="{C88DBB3D-99E2-5A4D-BAC7-8EC7C808598B}"/>
              </a:ext>
            </a:extLst>
          </p:cNvPr>
          <p:cNvPicPr>
            <a:picLocks noChangeAspect="1"/>
          </p:cNvPicPr>
          <p:nvPr userDrawn="1"/>
        </p:nvPicPr>
        <p:blipFill>
          <a:blip r:embed="rId3"/>
          <a:stretch>
            <a:fillRect/>
          </a:stretch>
        </p:blipFill>
        <p:spPr>
          <a:xfrm>
            <a:off x="10661939" y="429490"/>
            <a:ext cx="1072861" cy="436418"/>
          </a:xfrm>
          <a:prstGeom prst="rect">
            <a:avLst/>
          </a:prstGeom>
        </p:spPr>
      </p:pic>
    </p:spTree>
    <p:extLst>
      <p:ext uri="{BB962C8B-B14F-4D97-AF65-F5344CB8AC3E}">
        <p14:creationId xmlns:p14="http://schemas.microsoft.com/office/powerpoint/2010/main" val="1808554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824839" y="1287272"/>
            <a:ext cx="10173362" cy="5058664"/>
          </a:xfrm>
          <a:prstGeom prst="rect">
            <a:avLst/>
          </a:prstGeom>
        </p:spPr>
        <p:txBody>
          <a:bodyPr lIns="0" tIns="0" rIns="0" bIns="0"/>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824838" y="431674"/>
            <a:ext cx="8756073" cy="611649"/>
          </a:xfrm>
          <a:prstGeom prst="rect">
            <a:avLst/>
          </a:prstGeom>
        </p:spPr>
        <p:txBody>
          <a:bodyPr lIns="0" tIns="0" rIns="0" bIns="0"/>
          <a:lstStyle>
            <a:lvl1pPr>
              <a:defRPr sz="3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6060582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jpeg"/><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theme" Target="../theme/theme5.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jpe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image" Target="../media/image1.jpeg"/><Relationship Id="rId5" Type="http://schemas.openxmlformats.org/officeDocument/2006/relationships/theme" Target="../theme/theme7.xml"/><Relationship Id="rId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E073C2-1986-E34F-AD22-250D26EA855E}"/>
              </a:ext>
            </a:extLst>
          </p:cNvPr>
          <p:cNvPicPr>
            <a:picLocks noChangeAspect="1"/>
          </p:cNvPicPr>
          <p:nvPr userDrawn="1"/>
        </p:nvPicPr>
        <p:blipFill>
          <a:blip r:embed="rId6"/>
          <a:stretch>
            <a:fillRect/>
          </a:stretch>
        </p:blipFill>
        <p:spPr>
          <a:xfrm>
            <a:off x="10661939" y="429490"/>
            <a:ext cx="1072861" cy="436418"/>
          </a:xfrm>
          <a:prstGeom prst="rect">
            <a:avLst/>
          </a:prstGeom>
        </p:spPr>
      </p:pic>
      <p:grpSp>
        <p:nvGrpSpPr>
          <p:cNvPr id="2" name="Group 1">
            <a:extLst>
              <a:ext uri="{FF2B5EF4-FFF2-40B4-BE49-F238E27FC236}">
                <a16:creationId xmlns:a16="http://schemas.microsoft.com/office/drawing/2014/main" id="{D0E7EEFC-A975-BD43-9C30-D5AFE08429F9}"/>
              </a:ext>
            </a:extLst>
          </p:cNvPr>
          <p:cNvGrpSpPr/>
          <p:nvPr userDrawn="1"/>
        </p:nvGrpSpPr>
        <p:grpSpPr>
          <a:xfrm>
            <a:off x="-238991" y="-3982085"/>
            <a:ext cx="13144499" cy="12191999"/>
            <a:chOff x="-238991" y="-3982085"/>
            <a:chExt cx="13144499" cy="12191999"/>
          </a:xfrm>
          <a:noFill/>
        </p:grpSpPr>
        <p:grpSp>
          <p:nvGrpSpPr>
            <p:cNvPr id="5" name="Group 4">
              <a:extLst>
                <a:ext uri="{FF2B5EF4-FFF2-40B4-BE49-F238E27FC236}">
                  <a16:creationId xmlns:a16="http://schemas.microsoft.com/office/drawing/2014/main" id="{F853B959-46DF-EC4F-9DFC-77609BCD3C73}"/>
                </a:ext>
              </a:extLst>
            </p:cNvPr>
            <p:cNvGrpSpPr/>
            <p:nvPr userDrawn="1"/>
          </p:nvGrpSpPr>
          <p:grpSpPr>
            <a:xfrm>
              <a:off x="-238991" y="-3982085"/>
              <a:ext cx="12424493" cy="12191999"/>
              <a:chOff x="-238991" y="-3982085"/>
              <a:chExt cx="12424493" cy="12191999"/>
            </a:xfrm>
            <a:grpFill/>
          </p:grpSpPr>
          <p:sp>
            <p:nvSpPr>
              <p:cNvPr id="6" name="Rectangle 5">
                <a:extLst>
                  <a:ext uri="{FF2B5EF4-FFF2-40B4-BE49-F238E27FC236}">
                    <a16:creationId xmlns:a16="http://schemas.microsoft.com/office/drawing/2014/main" id="{48A7BC14-C380-9B49-95B8-A3843C591EBD}"/>
                  </a:ext>
                </a:extLst>
              </p:cNvPr>
              <p:cNvSpPr/>
              <p:nvPr userDrawn="1"/>
            </p:nvSpPr>
            <p:spPr>
              <a:xfrm>
                <a:off x="-6497" y="-1"/>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7" name="Rectangle 6">
                <a:extLst>
                  <a:ext uri="{FF2B5EF4-FFF2-40B4-BE49-F238E27FC236}">
                    <a16:creationId xmlns:a16="http://schemas.microsoft.com/office/drawing/2014/main" id="{03DB1A8E-72AA-4E48-9F53-B6F08FC0594C}"/>
                  </a:ext>
                </a:extLst>
              </p:cNvPr>
              <p:cNvSpPr/>
              <p:nvPr userDrawn="1"/>
            </p:nvSpPr>
            <p:spPr>
              <a:xfrm rot="16200000">
                <a:off x="5857009"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8" name="Rectangle 7">
                <a:extLst>
                  <a:ext uri="{FF2B5EF4-FFF2-40B4-BE49-F238E27FC236}">
                    <a16:creationId xmlns:a16="http://schemas.microsoft.com/office/drawing/2014/main" id="{1338A392-0B6D-D34C-92BE-161ABB9252EE}"/>
                  </a:ext>
                </a:extLst>
              </p:cNvPr>
              <p:cNvSpPr/>
              <p:nvPr userDrawn="1"/>
            </p:nvSpPr>
            <p:spPr>
              <a:xfrm rot="16200000">
                <a:off x="-5885225"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1" name="Rectangle 10">
                <a:extLst>
                  <a:ext uri="{FF2B5EF4-FFF2-40B4-BE49-F238E27FC236}">
                    <a16:creationId xmlns:a16="http://schemas.microsoft.com/office/drawing/2014/main" id="{1798F60E-523D-B44E-9673-EDFB029E95F2}"/>
                  </a:ext>
                </a:extLst>
              </p:cNvPr>
              <p:cNvSpPr/>
              <p:nvPr userDrawn="1"/>
            </p:nvSpPr>
            <p:spPr>
              <a:xfrm rot="16200000">
                <a:off x="-5472630"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2" name="Rectangle 11">
                <a:extLst>
                  <a:ext uri="{FF2B5EF4-FFF2-40B4-BE49-F238E27FC236}">
                    <a16:creationId xmlns:a16="http://schemas.microsoft.com/office/drawing/2014/main" id="{48BCE04C-A6F1-7D49-8411-8B287B87D568}"/>
                  </a:ext>
                </a:extLst>
              </p:cNvPr>
              <p:cNvSpPr/>
              <p:nvPr userDrawn="1"/>
            </p:nvSpPr>
            <p:spPr>
              <a:xfrm>
                <a:off x="-238991" y="858982"/>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3" name="Rectangle 12">
              <a:extLst>
                <a:ext uri="{FF2B5EF4-FFF2-40B4-BE49-F238E27FC236}">
                  <a16:creationId xmlns:a16="http://schemas.microsoft.com/office/drawing/2014/main" id="{0290FB32-C180-C844-9431-30BF97C26DC5}"/>
                </a:ext>
              </a:extLst>
            </p:cNvPr>
            <p:cNvSpPr/>
            <p:nvPr userDrawn="1"/>
          </p:nvSpPr>
          <p:spPr>
            <a:xfrm>
              <a:off x="713509" y="1966423"/>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4" name="Footer Placeholder 2">
            <a:extLst>
              <a:ext uri="{FF2B5EF4-FFF2-40B4-BE49-F238E27FC236}">
                <a16:creationId xmlns:a16="http://schemas.microsoft.com/office/drawing/2014/main" id="{47DDF196-F6A6-B046-A220-497F9B2D1DCB}"/>
              </a:ext>
            </a:extLst>
          </p:cNvPr>
          <p:cNvSpPr>
            <a:spLocks noGrp="1"/>
          </p:cNvSpPr>
          <p:nvPr>
            <p:ph type="ftr" sz="quarter" idx="3"/>
          </p:nvPr>
        </p:nvSpPr>
        <p:spPr>
          <a:xfrm>
            <a:off x="824838" y="6425928"/>
            <a:ext cx="8428890" cy="365125"/>
          </a:xfrm>
          <a:prstGeom prst="rect">
            <a:avLst/>
          </a:prstGeom>
        </p:spPr>
        <p:txBody>
          <a:bodyPr vert="horz" lIns="0" tIns="0" rIns="0" bIns="0" rtlCol="0" anchor="t"/>
          <a:lstStyle>
            <a:lvl1pPr algn="l">
              <a:defRPr sz="1200" b="0">
                <a:solidFill>
                  <a:srgbClr val="425463"/>
                </a:solidFill>
                <a:latin typeface="Arial" charset="0"/>
                <a:ea typeface="Arial" charset="0"/>
                <a:cs typeface="Arial" charset="0"/>
              </a:defRPr>
            </a:lvl1pPr>
          </a:lstStyle>
          <a:p>
            <a:r>
              <a:rPr lang="en-GB"/>
              <a:t>#beneficialchanges</a:t>
            </a:r>
            <a:endParaRPr lang="en-US"/>
          </a:p>
        </p:txBody>
      </p:sp>
    </p:spTree>
    <p:extLst>
      <p:ext uri="{BB962C8B-B14F-4D97-AF65-F5344CB8AC3E}">
        <p14:creationId xmlns:p14="http://schemas.microsoft.com/office/powerpoint/2010/main" val="366450330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E073C2-1986-E34F-AD22-250D26EA855E}"/>
              </a:ext>
            </a:extLst>
          </p:cNvPr>
          <p:cNvPicPr>
            <a:picLocks noChangeAspect="1"/>
          </p:cNvPicPr>
          <p:nvPr userDrawn="1"/>
        </p:nvPicPr>
        <p:blipFill>
          <a:blip r:embed="rId5"/>
          <a:stretch>
            <a:fillRect/>
          </a:stretch>
        </p:blipFill>
        <p:spPr>
          <a:xfrm>
            <a:off x="10661939" y="429490"/>
            <a:ext cx="1072861" cy="436418"/>
          </a:xfrm>
          <a:prstGeom prst="rect">
            <a:avLst/>
          </a:prstGeom>
        </p:spPr>
      </p:pic>
      <p:grpSp>
        <p:nvGrpSpPr>
          <p:cNvPr id="2" name="Group 1">
            <a:extLst>
              <a:ext uri="{FF2B5EF4-FFF2-40B4-BE49-F238E27FC236}">
                <a16:creationId xmlns:a16="http://schemas.microsoft.com/office/drawing/2014/main" id="{D0E7EEFC-A975-BD43-9C30-D5AFE08429F9}"/>
              </a:ext>
            </a:extLst>
          </p:cNvPr>
          <p:cNvGrpSpPr/>
          <p:nvPr userDrawn="1"/>
        </p:nvGrpSpPr>
        <p:grpSpPr>
          <a:xfrm>
            <a:off x="-238991" y="-3982085"/>
            <a:ext cx="13144499" cy="12191999"/>
            <a:chOff x="-238991" y="-3982085"/>
            <a:chExt cx="13144499" cy="12191999"/>
          </a:xfrm>
          <a:noFill/>
        </p:grpSpPr>
        <p:grpSp>
          <p:nvGrpSpPr>
            <p:cNvPr id="5" name="Group 4">
              <a:extLst>
                <a:ext uri="{FF2B5EF4-FFF2-40B4-BE49-F238E27FC236}">
                  <a16:creationId xmlns:a16="http://schemas.microsoft.com/office/drawing/2014/main" id="{F853B959-46DF-EC4F-9DFC-77609BCD3C73}"/>
                </a:ext>
              </a:extLst>
            </p:cNvPr>
            <p:cNvGrpSpPr/>
            <p:nvPr userDrawn="1"/>
          </p:nvGrpSpPr>
          <p:grpSpPr>
            <a:xfrm>
              <a:off x="-238991" y="-3982085"/>
              <a:ext cx="12424493" cy="12191999"/>
              <a:chOff x="-238991" y="-3982085"/>
              <a:chExt cx="12424493" cy="12191999"/>
            </a:xfrm>
            <a:grpFill/>
          </p:grpSpPr>
          <p:sp>
            <p:nvSpPr>
              <p:cNvPr id="6" name="Rectangle 5">
                <a:extLst>
                  <a:ext uri="{FF2B5EF4-FFF2-40B4-BE49-F238E27FC236}">
                    <a16:creationId xmlns:a16="http://schemas.microsoft.com/office/drawing/2014/main" id="{48A7BC14-C380-9B49-95B8-A3843C591EBD}"/>
                  </a:ext>
                </a:extLst>
              </p:cNvPr>
              <p:cNvSpPr/>
              <p:nvPr userDrawn="1"/>
            </p:nvSpPr>
            <p:spPr>
              <a:xfrm>
                <a:off x="-6497" y="-1"/>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7" name="Rectangle 6">
                <a:extLst>
                  <a:ext uri="{FF2B5EF4-FFF2-40B4-BE49-F238E27FC236}">
                    <a16:creationId xmlns:a16="http://schemas.microsoft.com/office/drawing/2014/main" id="{03DB1A8E-72AA-4E48-9F53-B6F08FC0594C}"/>
                  </a:ext>
                </a:extLst>
              </p:cNvPr>
              <p:cNvSpPr/>
              <p:nvPr userDrawn="1"/>
            </p:nvSpPr>
            <p:spPr>
              <a:xfrm rot="16200000">
                <a:off x="5857009"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8" name="Rectangle 7">
                <a:extLst>
                  <a:ext uri="{FF2B5EF4-FFF2-40B4-BE49-F238E27FC236}">
                    <a16:creationId xmlns:a16="http://schemas.microsoft.com/office/drawing/2014/main" id="{1338A392-0B6D-D34C-92BE-161ABB9252EE}"/>
                  </a:ext>
                </a:extLst>
              </p:cNvPr>
              <p:cNvSpPr/>
              <p:nvPr userDrawn="1"/>
            </p:nvSpPr>
            <p:spPr>
              <a:xfrm rot="16200000">
                <a:off x="-5885225"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1" name="Rectangle 10">
                <a:extLst>
                  <a:ext uri="{FF2B5EF4-FFF2-40B4-BE49-F238E27FC236}">
                    <a16:creationId xmlns:a16="http://schemas.microsoft.com/office/drawing/2014/main" id="{1798F60E-523D-B44E-9673-EDFB029E95F2}"/>
                  </a:ext>
                </a:extLst>
              </p:cNvPr>
              <p:cNvSpPr/>
              <p:nvPr userDrawn="1"/>
            </p:nvSpPr>
            <p:spPr>
              <a:xfrm rot="16200000">
                <a:off x="-5472630"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2" name="Rectangle 11">
                <a:extLst>
                  <a:ext uri="{FF2B5EF4-FFF2-40B4-BE49-F238E27FC236}">
                    <a16:creationId xmlns:a16="http://schemas.microsoft.com/office/drawing/2014/main" id="{48BCE04C-A6F1-7D49-8411-8B287B87D568}"/>
                  </a:ext>
                </a:extLst>
              </p:cNvPr>
              <p:cNvSpPr/>
              <p:nvPr userDrawn="1"/>
            </p:nvSpPr>
            <p:spPr>
              <a:xfrm>
                <a:off x="-238991" y="858982"/>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3" name="Rectangle 12">
              <a:extLst>
                <a:ext uri="{FF2B5EF4-FFF2-40B4-BE49-F238E27FC236}">
                  <a16:creationId xmlns:a16="http://schemas.microsoft.com/office/drawing/2014/main" id="{0290FB32-C180-C844-9431-30BF97C26DC5}"/>
                </a:ext>
              </a:extLst>
            </p:cNvPr>
            <p:cNvSpPr/>
            <p:nvPr userDrawn="1"/>
          </p:nvSpPr>
          <p:spPr>
            <a:xfrm>
              <a:off x="713509" y="1966423"/>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4" name="Footer Placeholder 2">
            <a:extLst>
              <a:ext uri="{FF2B5EF4-FFF2-40B4-BE49-F238E27FC236}">
                <a16:creationId xmlns:a16="http://schemas.microsoft.com/office/drawing/2014/main" id="{47DDF196-F6A6-B046-A220-497F9B2D1DCB}"/>
              </a:ext>
            </a:extLst>
          </p:cNvPr>
          <p:cNvSpPr>
            <a:spLocks noGrp="1"/>
          </p:cNvSpPr>
          <p:nvPr>
            <p:ph type="ftr" sz="quarter" idx="3"/>
          </p:nvPr>
        </p:nvSpPr>
        <p:spPr>
          <a:xfrm>
            <a:off x="824838" y="6425928"/>
            <a:ext cx="8428890" cy="365125"/>
          </a:xfrm>
          <a:prstGeom prst="rect">
            <a:avLst/>
          </a:prstGeom>
        </p:spPr>
        <p:txBody>
          <a:bodyPr vert="horz" lIns="0" tIns="0" rIns="0" bIns="0" rtlCol="0" anchor="t"/>
          <a:lstStyle>
            <a:lvl1pPr algn="l">
              <a:defRPr sz="1200" b="0">
                <a:solidFill>
                  <a:srgbClr val="425463"/>
                </a:solidFill>
                <a:latin typeface="Arial" charset="0"/>
                <a:ea typeface="Arial" charset="0"/>
                <a:cs typeface="Arial" charset="0"/>
              </a:defRPr>
            </a:lvl1pPr>
          </a:lstStyle>
          <a:p>
            <a:r>
              <a:rPr lang="en-GB"/>
              <a:t>#beneficialchanges</a:t>
            </a:r>
            <a:endParaRPr lang="en-US"/>
          </a:p>
        </p:txBody>
      </p:sp>
    </p:spTree>
    <p:extLst>
      <p:ext uri="{BB962C8B-B14F-4D97-AF65-F5344CB8AC3E}">
        <p14:creationId xmlns:p14="http://schemas.microsoft.com/office/powerpoint/2010/main" val="123139517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BEB">
            <a:alpha val="99000"/>
          </a:srgb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E073C2-1986-E34F-AD22-250D26EA855E}"/>
              </a:ext>
            </a:extLst>
          </p:cNvPr>
          <p:cNvPicPr>
            <a:picLocks noChangeAspect="1"/>
          </p:cNvPicPr>
          <p:nvPr userDrawn="1"/>
        </p:nvPicPr>
        <p:blipFill>
          <a:blip r:embed="rId6"/>
          <a:stretch>
            <a:fillRect/>
          </a:stretch>
        </p:blipFill>
        <p:spPr>
          <a:xfrm>
            <a:off x="10661939" y="429490"/>
            <a:ext cx="1072861" cy="436418"/>
          </a:xfrm>
          <a:prstGeom prst="rect">
            <a:avLst/>
          </a:prstGeom>
        </p:spPr>
      </p:pic>
      <p:grpSp>
        <p:nvGrpSpPr>
          <p:cNvPr id="2" name="Group 1">
            <a:extLst>
              <a:ext uri="{FF2B5EF4-FFF2-40B4-BE49-F238E27FC236}">
                <a16:creationId xmlns:a16="http://schemas.microsoft.com/office/drawing/2014/main" id="{D0E7EEFC-A975-BD43-9C30-D5AFE08429F9}"/>
              </a:ext>
            </a:extLst>
          </p:cNvPr>
          <p:cNvGrpSpPr/>
          <p:nvPr userDrawn="1"/>
        </p:nvGrpSpPr>
        <p:grpSpPr>
          <a:xfrm>
            <a:off x="-238991" y="-3982085"/>
            <a:ext cx="13144499" cy="12191999"/>
            <a:chOff x="-238991" y="-3982085"/>
            <a:chExt cx="13144499" cy="12191999"/>
          </a:xfrm>
          <a:noFill/>
        </p:grpSpPr>
        <p:grpSp>
          <p:nvGrpSpPr>
            <p:cNvPr id="5" name="Group 4">
              <a:extLst>
                <a:ext uri="{FF2B5EF4-FFF2-40B4-BE49-F238E27FC236}">
                  <a16:creationId xmlns:a16="http://schemas.microsoft.com/office/drawing/2014/main" id="{F853B959-46DF-EC4F-9DFC-77609BCD3C73}"/>
                </a:ext>
              </a:extLst>
            </p:cNvPr>
            <p:cNvGrpSpPr/>
            <p:nvPr userDrawn="1"/>
          </p:nvGrpSpPr>
          <p:grpSpPr>
            <a:xfrm>
              <a:off x="-238991" y="-3982085"/>
              <a:ext cx="12424493" cy="12191999"/>
              <a:chOff x="-238991" y="-3982085"/>
              <a:chExt cx="12424493" cy="12191999"/>
            </a:xfrm>
            <a:grpFill/>
          </p:grpSpPr>
          <p:sp>
            <p:nvSpPr>
              <p:cNvPr id="6" name="Rectangle 5">
                <a:extLst>
                  <a:ext uri="{FF2B5EF4-FFF2-40B4-BE49-F238E27FC236}">
                    <a16:creationId xmlns:a16="http://schemas.microsoft.com/office/drawing/2014/main" id="{48A7BC14-C380-9B49-95B8-A3843C591EBD}"/>
                  </a:ext>
                </a:extLst>
              </p:cNvPr>
              <p:cNvSpPr/>
              <p:nvPr userDrawn="1"/>
            </p:nvSpPr>
            <p:spPr>
              <a:xfrm>
                <a:off x="-6497" y="-1"/>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7" name="Rectangle 6">
                <a:extLst>
                  <a:ext uri="{FF2B5EF4-FFF2-40B4-BE49-F238E27FC236}">
                    <a16:creationId xmlns:a16="http://schemas.microsoft.com/office/drawing/2014/main" id="{03DB1A8E-72AA-4E48-9F53-B6F08FC0594C}"/>
                  </a:ext>
                </a:extLst>
              </p:cNvPr>
              <p:cNvSpPr/>
              <p:nvPr userDrawn="1"/>
            </p:nvSpPr>
            <p:spPr>
              <a:xfrm rot="16200000">
                <a:off x="5857009"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8" name="Rectangle 7">
                <a:extLst>
                  <a:ext uri="{FF2B5EF4-FFF2-40B4-BE49-F238E27FC236}">
                    <a16:creationId xmlns:a16="http://schemas.microsoft.com/office/drawing/2014/main" id="{1338A392-0B6D-D34C-92BE-161ABB9252EE}"/>
                  </a:ext>
                </a:extLst>
              </p:cNvPr>
              <p:cNvSpPr/>
              <p:nvPr userDrawn="1"/>
            </p:nvSpPr>
            <p:spPr>
              <a:xfrm rot="16200000">
                <a:off x="-5885225"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1" name="Rectangle 10">
                <a:extLst>
                  <a:ext uri="{FF2B5EF4-FFF2-40B4-BE49-F238E27FC236}">
                    <a16:creationId xmlns:a16="http://schemas.microsoft.com/office/drawing/2014/main" id="{1798F60E-523D-B44E-9673-EDFB029E95F2}"/>
                  </a:ext>
                </a:extLst>
              </p:cNvPr>
              <p:cNvSpPr/>
              <p:nvPr userDrawn="1"/>
            </p:nvSpPr>
            <p:spPr>
              <a:xfrm rot="16200000">
                <a:off x="-5472630"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2" name="Rectangle 11">
                <a:extLst>
                  <a:ext uri="{FF2B5EF4-FFF2-40B4-BE49-F238E27FC236}">
                    <a16:creationId xmlns:a16="http://schemas.microsoft.com/office/drawing/2014/main" id="{48BCE04C-A6F1-7D49-8411-8B287B87D568}"/>
                  </a:ext>
                </a:extLst>
              </p:cNvPr>
              <p:cNvSpPr/>
              <p:nvPr userDrawn="1"/>
            </p:nvSpPr>
            <p:spPr>
              <a:xfrm>
                <a:off x="-238991" y="858982"/>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3" name="Rectangle 12">
              <a:extLst>
                <a:ext uri="{FF2B5EF4-FFF2-40B4-BE49-F238E27FC236}">
                  <a16:creationId xmlns:a16="http://schemas.microsoft.com/office/drawing/2014/main" id="{0290FB32-C180-C844-9431-30BF97C26DC5}"/>
                </a:ext>
              </a:extLst>
            </p:cNvPr>
            <p:cNvSpPr/>
            <p:nvPr userDrawn="1"/>
          </p:nvSpPr>
          <p:spPr>
            <a:xfrm>
              <a:off x="713509" y="1966423"/>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4" name="Footer Placeholder 2">
            <a:extLst>
              <a:ext uri="{FF2B5EF4-FFF2-40B4-BE49-F238E27FC236}">
                <a16:creationId xmlns:a16="http://schemas.microsoft.com/office/drawing/2014/main" id="{47DDF196-F6A6-B046-A220-497F9B2D1DCB}"/>
              </a:ext>
            </a:extLst>
          </p:cNvPr>
          <p:cNvSpPr>
            <a:spLocks noGrp="1"/>
          </p:cNvSpPr>
          <p:nvPr>
            <p:ph type="ftr" sz="quarter" idx="3"/>
          </p:nvPr>
        </p:nvSpPr>
        <p:spPr>
          <a:xfrm>
            <a:off x="824838" y="6425928"/>
            <a:ext cx="8428890" cy="365125"/>
          </a:xfrm>
          <a:prstGeom prst="rect">
            <a:avLst/>
          </a:prstGeom>
        </p:spPr>
        <p:txBody>
          <a:bodyPr vert="horz" lIns="0" tIns="0" rIns="0" bIns="0" rtlCol="0" anchor="t"/>
          <a:lstStyle>
            <a:lvl1pPr algn="l">
              <a:defRPr sz="1200" b="0">
                <a:solidFill>
                  <a:srgbClr val="425463"/>
                </a:solidFill>
                <a:latin typeface="Arial" charset="0"/>
                <a:ea typeface="Arial" charset="0"/>
                <a:cs typeface="Arial" charset="0"/>
              </a:defRPr>
            </a:lvl1pPr>
          </a:lstStyle>
          <a:p>
            <a:r>
              <a:rPr lang="en-GB"/>
              <a:t>#beneficialchanges</a:t>
            </a:r>
            <a:endParaRPr lang="en-US"/>
          </a:p>
        </p:txBody>
      </p:sp>
    </p:spTree>
    <p:extLst>
      <p:ext uri="{BB962C8B-B14F-4D97-AF65-F5344CB8AC3E}">
        <p14:creationId xmlns:p14="http://schemas.microsoft.com/office/powerpoint/2010/main" val="405907797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6"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8535D5-FE9D-4941-B9A5-E2543916B6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09FD8C-D907-4EE4-A79E-055CC4013D5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BB4BE4F-F15D-4A2D-B738-1D87C9A906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6C968B-3C60-4E9D-92DB-E538F4B5F570}" type="datetimeFigureOut">
              <a:rPr lang="en-GB" smtClean="0"/>
              <a:t>26/08/2021</a:t>
            </a:fld>
            <a:endParaRPr lang="en-GB"/>
          </a:p>
        </p:txBody>
      </p:sp>
      <p:sp>
        <p:nvSpPr>
          <p:cNvPr id="5" name="Footer Placeholder 4">
            <a:extLst>
              <a:ext uri="{FF2B5EF4-FFF2-40B4-BE49-F238E27FC236}">
                <a16:creationId xmlns:a16="http://schemas.microsoft.com/office/drawing/2014/main" id="{62DA4724-FE1A-42B6-9F87-D8482D2B6D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8289AB8-8B64-4D9C-AD6B-74359515FB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A2487-990D-43AE-8BC0-79132A59DB39}" type="slidenum">
              <a:rPr lang="en-GB" smtClean="0"/>
              <a:t>‹#›</a:t>
            </a:fld>
            <a:endParaRPr lang="en-GB"/>
          </a:p>
        </p:txBody>
      </p:sp>
    </p:spTree>
    <p:extLst>
      <p:ext uri="{BB962C8B-B14F-4D97-AF65-F5344CB8AC3E}">
        <p14:creationId xmlns:p14="http://schemas.microsoft.com/office/powerpoint/2010/main" val="208074492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6/08/2021</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86355486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143000" y="609600"/>
            <a:ext cx="9875520" cy="13563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143000" y="2057400"/>
            <a:ext cx="9872871" cy="4038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42996" y="6223828"/>
            <a:ext cx="2329074" cy="365125"/>
          </a:xfrm>
          <a:prstGeom prst="rect">
            <a:avLst/>
          </a:prstGeom>
        </p:spPr>
        <p:txBody>
          <a:bodyPr vert="horz" lIns="91440" tIns="45720" rIns="91440" bIns="45720" rtlCol="0" anchor="ctr"/>
          <a:lstStyle>
            <a:lvl1pPr algn="l">
              <a:defRPr sz="1200">
                <a:solidFill>
                  <a:schemeClr val="accent1"/>
                </a:solidFill>
              </a:defRPr>
            </a:lvl1pPr>
          </a:lstStyle>
          <a:p>
            <a:fld id="{96DFF08F-DC6B-4601-B491-B0F83F6DD2DA}" type="datetimeFigureOut">
              <a:rPr lang="en-US" smtClean="0"/>
              <a:pPr/>
              <a:t>8/26/2021</a:t>
            </a:fld>
            <a:endParaRPr lang="en-US" dirty="0"/>
          </a:p>
        </p:txBody>
      </p:sp>
      <p:sp>
        <p:nvSpPr>
          <p:cNvPr id="5" name="Footer Placeholder 4"/>
          <p:cNvSpPr>
            <a:spLocks noGrp="1"/>
          </p:cNvSpPr>
          <p:nvPr>
            <p:ph type="ftr" sz="quarter" idx="3"/>
          </p:nvPr>
        </p:nvSpPr>
        <p:spPr>
          <a:xfrm>
            <a:off x="3949148" y="6223828"/>
            <a:ext cx="4717774" cy="365125"/>
          </a:xfrm>
          <a:prstGeom prst="rect">
            <a:avLst/>
          </a:prstGeom>
        </p:spPr>
        <p:txBody>
          <a:bodyPr vert="horz" lIns="91440" tIns="45720" rIns="91440" bIns="45720" rtlCol="0" anchor="ctr"/>
          <a:lstStyle>
            <a:lvl1pPr algn="ctr">
              <a:defRPr sz="1200">
                <a:solidFill>
                  <a:schemeClr val="accent1"/>
                </a:solidFill>
              </a:defRPr>
            </a:lvl1pPr>
          </a:lstStyle>
          <a:p>
            <a:r>
              <a:rPr lang="en-GB"/>
              <a:t>#beneficialchanges</a:t>
            </a:r>
            <a:endParaRPr lang="en-US"/>
          </a:p>
        </p:txBody>
      </p:sp>
      <p:sp>
        <p:nvSpPr>
          <p:cNvPr id="6" name="Slide Number Placeholder 5"/>
          <p:cNvSpPr>
            <a:spLocks noGrp="1"/>
          </p:cNvSpPr>
          <p:nvPr>
            <p:ph type="sldNum" sz="quarter" idx="4"/>
          </p:nvPr>
        </p:nvSpPr>
        <p:spPr>
          <a:xfrm>
            <a:off x="9329530" y="6223828"/>
            <a:ext cx="1706217" cy="365125"/>
          </a:xfrm>
          <a:prstGeom prst="rect">
            <a:avLst/>
          </a:prstGeom>
        </p:spPr>
        <p:txBody>
          <a:bodyPr vert="horz" lIns="91440" tIns="45720" rIns="91440" bIns="45720" rtlCol="0" anchor="ctr"/>
          <a:lstStyle>
            <a:lvl1pPr algn="r">
              <a:defRPr sz="1200">
                <a:solidFill>
                  <a:schemeClr val="accent1"/>
                </a:solidFill>
              </a:defRPr>
            </a:lvl1pPr>
          </a:lstStyle>
          <a:p>
            <a:fld id="{4FAB73BC-B049-4115-A692-8D63A059BFB8}" type="slidenum">
              <a:rPr lang="en-US" smtClean="0"/>
              <a:pPr/>
              <a:t>‹#›</a:t>
            </a:fld>
            <a:endParaRPr lang="en-US" dirty="0"/>
          </a:p>
        </p:txBody>
      </p:sp>
      <p:pic>
        <p:nvPicPr>
          <p:cNvPr id="8" name="Picture 7">
            <a:extLst>
              <a:ext uri="{FF2B5EF4-FFF2-40B4-BE49-F238E27FC236}">
                <a16:creationId xmlns:a16="http://schemas.microsoft.com/office/drawing/2014/main" id="{D50F119F-48C1-42FE-9F4C-173A1220116B}"/>
              </a:ext>
            </a:extLst>
          </p:cNvPr>
          <p:cNvPicPr>
            <a:picLocks noChangeAspect="1"/>
          </p:cNvPicPr>
          <p:nvPr userDrawn="1"/>
        </p:nvPicPr>
        <p:blipFill>
          <a:blip r:embed="rId15"/>
          <a:stretch>
            <a:fillRect/>
          </a:stretch>
        </p:blipFill>
        <p:spPr>
          <a:xfrm>
            <a:off x="10661939" y="429490"/>
            <a:ext cx="1072861" cy="436418"/>
          </a:xfrm>
          <a:prstGeom prst="rect">
            <a:avLst/>
          </a:prstGeom>
        </p:spPr>
      </p:pic>
      <p:grpSp>
        <p:nvGrpSpPr>
          <p:cNvPr id="9" name="Group 8">
            <a:extLst>
              <a:ext uri="{FF2B5EF4-FFF2-40B4-BE49-F238E27FC236}">
                <a16:creationId xmlns:a16="http://schemas.microsoft.com/office/drawing/2014/main" id="{815E9EFD-1C0E-4ADC-93CF-28AE73BAEA91}"/>
              </a:ext>
            </a:extLst>
          </p:cNvPr>
          <p:cNvGrpSpPr/>
          <p:nvPr userDrawn="1"/>
        </p:nvGrpSpPr>
        <p:grpSpPr>
          <a:xfrm>
            <a:off x="-238991" y="-3982085"/>
            <a:ext cx="13144499" cy="12191999"/>
            <a:chOff x="-238991" y="-3982085"/>
            <a:chExt cx="13144499" cy="12191999"/>
          </a:xfrm>
          <a:noFill/>
        </p:grpSpPr>
        <p:grpSp>
          <p:nvGrpSpPr>
            <p:cNvPr id="10" name="Group 9">
              <a:extLst>
                <a:ext uri="{FF2B5EF4-FFF2-40B4-BE49-F238E27FC236}">
                  <a16:creationId xmlns:a16="http://schemas.microsoft.com/office/drawing/2014/main" id="{99CAD61E-A4D8-457F-AB47-A81A04D1E1CD}"/>
                </a:ext>
              </a:extLst>
            </p:cNvPr>
            <p:cNvGrpSpPr/>
            <p:nvPr userDrawn="1"/>
          </p:nvGrpSpPr>
          <p:grpSpPr>
            <a:xfrm>
              <a:off x="-238991" y="-3982085"/>
              <a:ext cx="12424493" cy="12191999"/>
              <a:chOff x="-238991" y="-3982085"/>
              <a:chExt cx="12424493" cy="12191999"/>
            </a:xfrm>
            <a:grpFill/>
          </p:grpSpPr>
          <p:sp>
            <p:nvSpPr>
              <p:cNvPr id="12" name="Rectangle 11">
                <a:extLst>
                  <a:ext uri="{FF2B5EF4-FFF2-40B4-BE49-F238E27FC236}">
                    <a16:creationId xmlns:a16="http://schemas.microsoft.com/office/drawing/2014/main" id="{6898D690-9904-4830-AD0B-51F3FE255698}"/>
                  </a:ext>
                </a:extLst>
              </p:cNvPr>
              <p:cNvSpPr/>
              <p:nvPr userDrawn="1"/>
            </p:nvSpPr>
            <p:spPr>
              <a:xfrm>
                <a:off x="-6497" y="-1"/>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3" name="Rectangle 12">
                <a:extLst>
                  <a:ext uri="{FF2B5EF4-FFF2-40B4-BE49-F238E27FC236}">
                    <a16:creationId xmlns:a16="http://schemas.microsoft.com/office/drawing/2014/main" id="{4AA2AC82-C00D-446B-B277-E5C871684854}"/>
                  </a:ext>
                </a:extLst>
              </p:cNvPr>
              <p:cNvSpPr/>
              <p:nvPr userDrawn="1"/>
            </p:nvSpPr>
            <p:spPr>
              <a:xfrm rot="16200000">
                <a:off x="5857009"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4" name="Rectangle 13">
                <a:extLst>
                  <a:ext uri="{FF2B5EF4-FFF2-40B4-BE49-F238E27FC236}">
                    <a16:creationId xmlns:a16="http://schemas.microsoft.com/office/drawing/2014/main" id="{868C7819-C72D-4244-A019-0ADBD71EC83C}"/>
                  </a:ext>
                </a:extLst>
              </p:cNvPr>
              <p:cNvSpPr/>
              <p:nvPr userDrawn="1"/>
            </p:nvSpPr>
            <p:spPr>
              <a:xfrm rot="16200000">
                <a:off x="-5885225"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5" name="Rectangle 14">
                <a:extLst>
                  <a:ext uri="{FF2B5EF4-FFF2-40B4-BE49-F238E27FC236}">
                    <a16:creationId xmlns:a16="http://schemas.microsoft.com/office/drawing/2014/main" id="{E9CFB172-22F3-4088-86B4-D093063D74F2}"/>
                  </a:ext>
                </a:extLst>
              </p:cNvPr>
              <p:cNvSpPr/>
              <p:nvPr userDrawn="1"/>
            </p:nvSpPr>
            <p:spPr>
              <a:xfrm rot="16200000">
                <a:off x="-5472630"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6" name="Rectangle 15">
                <a:extLst>
                  <a:ext uri="{FF2B5EF4-FFF2-40B4-BE49-F238E27FC236}">
                    <a16:creationId xmlns:a16="http://schemas.microsoft.com/office/drawing/2014/main" id="{12EFAFE3-9F56-43C6-823B-B419FD10228B}"/>
                  </a:ext>
                </a:extLst>
              </p:cNvPr>
              <p:cNvSpPr/>
              <p:nvPr userDrawn="1"/>
            </p:nvSpPr>
            <p:spPr>
              <a:xfrm>
                <a:off x="-238991" y="858982"/>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1" name="Rectangle 10">
              <a:extLst>
                <a:ext uri="{FF2B5EF4-FFF2-40B4-BE49-F238E27FC236}">
                  <a16:creationId xmlns:a16="http://schemas.microsoft.com/office/drawing/2014/main" id="{C4743612-3763-4611-B183-1CBD4EEFE955}"/>
                </a:ext>
              </a:extLst>
            </p:cNvPr>
            <p:cNvSpPr/>
            <p:nvPr userDrawn="1"/>
          </p:nvSpPr>
          <p:spPr>
            <a:xfrm>
              <a:off x="713509" y="1966423"/>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Tree>
    <p:extLst>
      <p:ext uri="{BB962C8B-B14F-4D97-AF65-F5344CB8AC3E}">
        <p14:creationId xmlns:p14="http://schemas.microsoft.com/office/powerpoint/2010/main" val="4022167736"/>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hf hdr="0" dt="0"/>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E073C2-1986-E34F-AD22-250D26EA855E}"/>
              </a:ext>
            </a:extLst>
          </p:cNvPr>
          <p:cNvPicPr>
            <a:picLocks noChangeAspect="1"/>
          </p:cNvPicPr>
          <p:nvPr userDrawn="1"/>
        </p:nvPicPr>
        <p:blipFill>
          <a:blip r:embed="rId6"/>
          <a:stretch>
            <a:fillRect/>
          </a:stretch>
        </p:blipFill>
        <p:spPr>
          <a:xfrm>
            <a:off x="10661939" y="429490"/>
            <a:ext cx="1072861" cy="436418"/>
          </a:xfrm>
          <a:prstGeom prst="rect">
            <a:avLst/>
          </a:prstGeom>
        </p:spPr>
      </p:pic>
      <p:grpSp>
        <p:nvGrpSpPr>
          <p:cNvPr id="2" name="Group 1">
            <a:extLst>
              <a:ext uri="{FF2B5EF4-FFF2-40B4-BE49-F238E27FC236}">
                <a16:creationId xmlns:a16="http://schemas.microsoft.com/office/drawing/2014/main" id="{D0E7EEFC-A975-BD43-9C30-D5AFE08429F9}"/>
              </a:ext>
            </a:extLst>
          </p:cNvPr>
          <p:cNvGrpSpPr/>
          <p:nvPr userDrawn="1"/>
        </p:nvGrpSpPr>
        <p:grpSpPr>
          <a:xfrm>
            <a:off x="-238991" y="-3982085"/>
            <a:ext cx="13144499" cy="12191999"/>
            <a:chOff x="-238991" y="-3982085"/>
            <a:chExt cx="13144499" cy="12191999"/>
          </a:xfrm>
          <a:noFill/>
        </p:grpSpPr>
        <p:grpSp>
          <p:nvGrpSpPr>
            <p:cNvPr id="5" name="Group 4">
              <a:extLst>
                <a:ext uri="{FF2B5EF4-FFF2-40B4-BE49-F238E27FC236}">
                  <a16:creationId xmlns:a16="http://schemas.microsoft.com/office/drawing/2014/main" id="{F853B959-46DF-EC4F-9DFC-77609BCD3C73}"/>
                </a:ext>
              </a:extLst>
            </p:cNvPr>
            <p:cNvGrpSpPr/>
            <p:nvPr userDrawn="1"/>
          </p:nvGrpSpPr>
          <p:grpSpPr>
            <a:xfrm>
              <a:off x="-238991" y="-3982085"/>
              <a:ext cx="12424493" cy="12191999"/>
              <a:chOff x="-238991" y="-3982085"/>
              <a:chExt cx="12424493" cy="12191999"/>
            </a:xfrm>
            <a:grpFill/>
          </p:grpSpPr>
          <p:sp>
            <p:nvSpPr>
              <p:cNvPr id="6" name="Rectangle 5">
                <a:extLst>
                  <a:ext uri="{FF2B5EF4-FFF2-40B4-BE49-F238E27FC236}">
                    <a16:creationId xmlns:a16="http://schemas.microsoft.com/office/drawing/2014/main" id="{48A7BC14-C380-9B49-95B8-A3843C591EBD}"/>
                  </a:ext>
                </a:extLst>
              </p:cNvPr>
              <p:cNvSpPr/>
              <p:nvPr userDrawn="1"/>
            </p:nvSpPr>
            <p:spPr>
              <a:xfrm>
                <a:off x="-6497" y="-1"/>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7" name="Rectangle 6">
                <a:extLst>
                  <a:ext uri="{FF2B5EF4-FFF2-40B4-BE49-F238E27FC236}">
                    <a16:creationId xmlns:a16="http://schemas.microsoft.com/office/drawing/2014/main" id="{03DB1A8E-72AA-4E48-9F53-B6F08FC0594C}"/>
                  </a:ext>
                </a:extLst>
              </p:cNvPr>
              <p:cNvSpPr/>
              <p:nvPr userDrawn="1"/>
            </p:nvSpPr>
            <p:spPr>
              <a:xfrm rot="16200000">
                <a:off x="5857009"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8" name="Rectangle 7">
                <a:extLst>
                  <a:ext uri="{FF2B5EF4-FFF2-40B4-BE49-F238E27FC236}">
                    <a16:creationId xmlns:a16="http://schemas.microsoft.com/office/drawing/2014/main" id="{1338A392-0B6D-D34C-92BE-161ABB9252EE}"/>
                  </a:ext>
                </a:extLst>
              </p:cNvPr>
              <p:cNvSpPr/>
              <p:nvPr userDrawn="1"/>
            </p:nvSpPr>
            <p:spPr>
              <a:xfrm rot="16200000">
                <a:off x="-5885225"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1" name="Rectangle 10">
                <a:extLst>
                  <a:ext uri="{FF2B5EF4-FFF2-40B4-BE49-F238E27FC236}">
                    <a16:creationId xmlns:a16="http://schemas.microsoft.com/office/drawing/2014/main" id="{1798F60E-523D-B44E-9673-EDFB029E95F2}"/>
                  </a:ext>
                </a:extLst>
              </p:cNvPr>
              <p:cNvSpPr/>
              <p:nvPr userDrawn="1"/>
            </p:nvSpPr>
            <p:spPr>
              <a:xfrm rot="16200000">
                <a:off x="-5472630" y="1895706"/>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sp>
            <p:nvSpPr>
              <p:cNvPr id="12" name="Rectangle 11">
                <a:extLst>
                  <a:ext uri="{FF2B5EF4-FFF2-40B4-BE49-F238E27FC236}">
                    <a16:creationId xmlns:a16="http://schemas.microsoft.com/office/drawing/2014/main" id="{48BCE04C-A6F1-7D49-8411-8B287B87D568}"/>
                  </a:ext>
                </a:extLst>
              </p:cNvPr>
              <p:cNvSpPr/>
              <p:nvPr userDrawn="1"/>
            </p:nvSpPr>
            <p:spPr>
              <a:xfrm>
                <a:off x="-238991" y="858982"/>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3" name="Rectangle 12">
              <a:extLst>
                <a:ext uri="{FF2B5EF4-FFF2-40B4-BE49-F238E27FC236}">
                  <a16:creationId xmlns:a16="http://schemas.microsoft.com/office/drawing/2014/main" id="{0290FB32-C180-C844-9431-30BF97C26DC5}"/>
                </a:ext>
              </a:extLst>
            </p:cNvPr>
            <p:cNvSpPr/>
            <p:nvPr userDrawn="1"/>
          </p:nvSpPr>
          <p:spPr>
            <a:xfrm>
              <a:off x="713509" y="1966423"/>
              <a:ext cx="12191999" cy="4364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2"/>
                </a:solidFill>
              </a:endParaRPr>
            </a:p>
          </p:txBody>
        </p:sp>
      </p:grpSp>
      <p:sp>
        <p:nvSpPr>
          <p:cNvPr id="14" name="Footer Placeholder 2">
            <a:extLst>
              <a:ext uri="{FF2B5EF4-FFF2-40B4-BE49-F238E27FC236}">
                <a16:creationId xmlns:a16="http://schemas.microsoft.com/office/drawing/2014/main" id="{47DDF196-F6A6-B046-A220-497F9B2D1DCB}"/>
              </a:ext>
            </a:extLst>
          </p:cNvPr>
          <p:cNvSpPr>
            <a:spLocks noGrp="1"/>
          </p:cNvSpPr>
          <p:nvPr>
            <p:ph type="ftr" sz="quarter" idx="3"/>
          </p:nvPr>
        </p:nvSpPr>
        <p:spPr>
          <a:xfrm>
            <a:off x="824838" y="6425928"/>
            <a:ext cx="8428890" cy="365125"/>
          </a:xfrm>
          <a:prstGeom prst="rect">
            <a:avLst/>
          </a:prstGeom>
        </p:spPr>
        <p:txBody>
          <a:bodyPr vert="horz" lIns="0" tIns="0" rIns="0" bIns="0" rtlCol="0" anchor="t"/>
          <a:lstStyle>
            <a:lvl1pPr algn="l">
              <a:defRPr sz="1200" b="0">
                <a:solidFill>
                  <a:srgbClr val="425463"/>
                </a:solidFill>
                <a:latin typeface="Arial" charset="0"/>
                <a:ea typeface="Arial" charset="0"/>
                <a:cs typeface="Arial" charset="0"/>
              </a:defRPr>
            </a:lvl1pPr>
          </a:lstStyle>
          <a:p>
            <a:r>
              <a:rPr lang="en-GB" dirty="0"/>
              <a:t>#</a:t>
            </a:r>
            <a:r>
              <a:rPr lang="en-GB" dirty="0" err="1"/>
              <a:t>beneficialchanges</a:t>
            </a:r>
            <a:endParaRPr lang="en-US" dirty="0"/>
          </a:p>
        </p:txBody>
      </p:sp>
    </p:spTree>
    <p:extLst>
      <p:ext uri="{BB962C8B-B14F-4D97-AF65-F5344CB8AC3E}">
        <p14:creationId xmlns:p14="http://schemas.microsoft.com/office/powerpoint/2010/main" val="77636665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openxmlformats.org/officeDocument/2006/relationships/hyperlink" Target="https://www.nhfd.co.uk/charts" TargetMode="External"/><Relationship Id="rId3" Type="http://schemas.openxmlformats.org/officeDocument/2006/relationships/hyperlink" Target="https://www.hqip.org.uk/wp-content/uploads/2021/07/REF227_NaDIA-Harms-Eng_Main-Report-v1.0_FINAL-20210705.pdf" TargetMode="External"/><Relationship Id="rId7" Type="http://schemas.openxmlformats.org/officeDocument/2006/relationships/hyperlink" Target="https://www.hqip.org.uk/wp-content/uploads/2021/05/NCISH_2021-Suicide-by-middle-aged-men-report_HQIP_FINAL.pdf" TargetMode="External"/><Relationship Id="rId2" Type="http://schemas.openxmlformats.org/officeDocument/2006/relationships/hyperlink" Target="https://www.hqip.org.uk/wp-content/uploads/2021/08/REF228_NDA-Type1-Rep-2019-2020_FINAL-v20210806.pdf" TargetMode="External"/><Relationship Id="rId1" Type="http://schemas.openxmlformats.org/officeDocument/2006/relationships/slideLayout" Target="../slideLayouts/slideLayout24.xml"/><Relationship Id="rId6" Type="http://schemas.openxmlformats.org/officeDocument/2006/relationships/hyperlink" Target="https://www.hqip.org.uk/wp-content/uploads/2021/06/COPD_SC_data-and-methodology-report_2019-20_final.pdf" TargetMode="External"/><Relationship Id="rId5" Type="http://schemas.openxmlformats.org/officeDocument/2006/relationships/hyperlink" Target="https://www.hqip.org.uk/wp-content/uploads/2021/08/Ref.-251-Med-Surg-Dysphagia-Full-report-FINAL.pdf" TargetMode="External"/><Relationship Id="rId10" Type="http://schemas.openxmlformats.org/officeDocument/2006/relationships/hyperlink" Target="https://npda-results.rcpch.ac.uk/default.aspx" TargetMode="External"/><Relationship Id="rId4" Type="http://schemas.openxmlformats.org/officeDocument/2006/relationships/hyperlink" Target="https://www.hqip.org.uk/wp-content/uploads/2021/06/Ref.-261-NPDA-annual-core-Report-summary-FINAL.pdf" TargetMode="External"/><Relationship Id="rId9" Type="http://schemas.openxmlformats.org/officeDocument/2006/relationships/hyperlink" Target="https://data.nela.org.uk/Documents/Hospital/88/Year6-2/88_Year6-2_QuarterlyReport-pdf.aspx"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3.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3.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47.xml"/><Relationship Id="rId4" Type="http://schemas.openxmlformats.org/officeDocument/2006/relationships/image" Target="../media/image29.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hyperlink" Target="mailto:england.improvementsupporthubpmo@nhs.net"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Layout" Target="../slideLayouts/slideLayout10.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png"/><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hyperlink" Target="https://www.hqip.org.uk/"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FA9A0-CFD0-4A65-945B-AED4297394F5}"/>
              </a:ext>
            </a:extLst>
          </p:cNvPr>
          <p:cNvSpPr>
            <a:spLocks noGrp="1"/>
          </p:cNvSpPr>
          <p:nvPr>
            <p:ph type="title"/>
          </p:nvPr>
        </p:nvSpPr>
        <p:spPr>
          <a:xfrm>
            <a:off x="654126" y="2067340"/>
            <a:ext cx="9432324" cy="2193852"/>
          </a:xfrm>
        </p:spPr>
        <p:txBody>
          <a:bodyPr anchor="t"/>
          <a:lstStyle/>
          <a:p>
            <a:r>
              <a:rPr lang="en-GB" sz="4800" dirty="0">
                <a:solidFill>
                  <a:srgbClr val="0060BF"/>
                </a:solidFill>
                <a:latin typeface="Arial"/>
                <a:cs typeface="Arial"/>
              </a:rPr>
              <a:t>Clinical Audit for Improvement – </a:t>
            </a:r>
            <a:r>
              <a:rPr lang="en-GB" sz="4800">
                <a:solidFill>
                  <a:srgbClr val="0060BF"/>
                </a:solidFill>
                <a:latin typeface="Arial"/>
                <a:cs typeface="Arial"/>
              </a:rPr>
              <a:t>NHSEI Update </a:t>
            </a:r>
            <a:br>
              <a:rPr lang="en-GB" sz="4800" dirty="0"/>
            </a:br>
            <a:br>
              <a:rPr lang="en-GB" sz="4800" dirty="0"/>
            </a:br>
            <a:r>
              <a:rPr lang="en-GB" dirty="0">
                <a:solidFill>
                  <a:srgbClr val="0060BF"/>
                </a:solidFill>
                <a:latin typeface="Arial"/>
                <a:cs typeface="Arial"/>
              </a:rPr>
              <a:t>Dawn Chamberlain</a:t>
            </a:r>
            <a:br>
              <a:rPr lang="en-GB" dirty="0"/>
            </a:br>
            <a:r>
              <a:rPr lang="en-GB" dirty="0">
                <a:solidFill>
                  <a:srgbClr val="0060BF"/>
                </a:solidFill>
                <a:latin typeface="Arial"/>
                <a:cs typeface="Arial"/>
              </a:rPr>
              <a:t>Director Clinical Improvement</a:t>
            </a:r>
            <a:br>
              <a:rPr lang="en-GB" dirty="0"/>
            </a:br>
            <a:r>
              <a:rPr lang="en-GB" dirty="0">
                <a:solidFill>
                  <a:srgbClr val="0060BF"/>
                </a:solidFill>
                <a:latin typeface="Arial"/>
                <a:cs typeface="Arial"/>
              </a:rPr>
              <a:t>NHSEI</a:t>
            </a:r>
            <a:br>
              <a:rPr lang="en-GB" dirty="0"/>
            </a:br>
            <a:br>
              <a:rPr lang="en-GB" dirty="0"/>
            </a:br>
            <a:r>
              <a:rPr lang="en-GB" sz="2400" dirty="0">
                <a:solidFill>
                  <a:srgbClr val="0060BF"/>
                </a:solidFill>
                <a:latin typeface="Arial"/>
                <a:cs typeface="Arial"/>
              </a:rPr>
              <a:t>2</a:t>
            </a:r>
            <a:r>
              <a:rPr lang="en-GB" sz="2400" baseline="30000" dirty="0">
                <a:solidFill>
                  <a:srgbClr val="0060BF"/>
                </a:solidFill>
                <a:latin typeface="Arial"/>
                <a:cs typeface="Arial"/>
              </a:rPr>
              <a:t>nd</a:t>
            </a:r>
            <a:r>
              <a:rPr lang="en-GB" sz="2400" dirty="0">
                <a:solidFill>
                  <a:srgbClr val="0060BF"/>
                </a:solidFill>
                <a:latin typeface="Arial"/>
                <a:cs typeface="Arial"/>
              </a:rPr>
              <a:t> September 2021</a:t>
            </a:r>
            <a:endParaRPr lang="en-GB" dirty="0">
              <a:solidFill>
                <a:srgbClr val="0060BF"/>
              </a:solidFill>
              <a:latin typeface="Arial"/>
              <a:cs typeface="Arial"/>
            </a:endParaRPr>
          </a:p>
        </p:txBody>
      </p:sp>
      <p:grpSp>
        <p:nvGrpSpPr>
          <p:cNvPr id="9" name="Group 8">
            <a:extLst>
              <a:ext uri="{FF2B5EF4-FFF2-40B4-BE49-F238E27FC236}">
                <a16:creationId xmlns:a16="http://schemas.microsoft.com/office/drawing/2014/main" id="{86738413-370B-461B-95CE-C1F845C4E44E}"/>
              </a:ext>
            </a:extLst>
          </p:cNvPr>
          <p:cNvGrpSpPr/>
          <p:nvPr/>
        </p:nvGrpSpPr>
        <p:grpSpPr>
          <a:xfrm>
            <a:off x="7376824" y="4707389"/>
            <a:ext cx="3939225" cy="1419582"/>
            <a:chOff x="7269602" y="4707388"/>
            <a:chExt cx="3939225" cy="1419582"/>
          </a:xfrm>
        </p:grpSpPr>
        <p:sp>
          <p:nvSpPr>
            <p:cNvPr id="3" name="TextBox 2">
              <a:extLst>
                <a:ext uri="{FF2B5EF4-FFF2-40B4-BE49-F238E27FC236}">
                  <a16:creationId xmlns:a16="http://schemas.microsoft.com/office/drawing/2014/main" id="{871BD6DA-DDD0-44C4-83BD-76861F236AF8}"/>
                </a:ext>
              </a:extLst>
            </p:cNvPr>
            <p:cNvSpPr txBox="1"/>
            <p:nvPr/>
          </p:nvSpPr>
          <p:spPr>
            <a:xfrm>
              <a:off x="7269602" y="4707388"/>
              <a:ext cx="1087157"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yste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velopment</a:t>
              </a:r>
            </a:p>
          </p:txBody>
        </p:sp>
        <p:sp>
          <p:nvSpPr>
            <p:cNvPr id="11" name="TextBox 10">
              <a:extLst>
                <a:ext uri="{FF2B5EF4-FFF2-40B4-BE49-F238E27FC236}">
                  <a16:creationId xmlns:a16="http://schemas.microsoft.com/office/drawing/2014/main" id="{3DA9EFAC-97B7-491F-9EE7-FB4FDE1FA2E4}"/>
                </a:ext>
              </a:extLst>
            </p:cNvPr>
            <p:cNvSpPr txBox="1"/>
            <p:nvPr/>
          </p:nvSpPr>
          <p:spPr>
            <a:xfrm>
              <a:off x="8257181" y="5480639"/>
              <a:ext cx="1080745"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thw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prov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pport</a:t>
              </a:r>
            </a:p>
          </p:txBody>
        </p:sp>
        <p:sp>
          <p:nvSpPr>
            <p:cNvPr id="12" name="TextBox 11">
              <a:extLst>
                <a:ext uri="{FF2B5EF4-FFF2-40B4-BE49-F238E27FC236}">
                  <a16:creationId xmlns:a16="http://schemas.microsoft.com/office/drawing/2014/main" id="{5F5ED984-78DE-4347-81CF-F00A8D83768F}"/>
                </a:ext>
              </a:extLst>
            </p:cNvPr>
            <p:cNvSpPr txBox="1"/>
            <p:nvPr/>
          </p:nvSpPr>
          <p:spPr>
            <a:xfrm>
              <a:off x="9176762" y="4707388"/>
              <a:ext cx="1175322" cy="646331"/>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cial C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gration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mprovement</a:t>
              </a:r>
            </a:p>
          </p:txBody>
        </p:sp>
        <p:sp>
          <p:nvSpPr>
            <p:cNvPr id="13" name="TextBox 12">
              <a:extLst>
                <a:ext uri="{FF2B5EF4-FFF2-40B4-BE49-F238E27FC236}">
                  <a16:creationId xmlns:a16="http://schemas.microsoft.com/office/drawing/2014/main" id="{69B574A1-0433-4F08-9A25-67D54AB24027}"/>
                </a:ext>
              </a:extLst>
            </p:cNvPr>
            <p:cNvSpPr txBox="1"/>
            <p:nvPr/>
          </p:nvSpPr>
          <p:spPr>
            <a:xfrm>
              <a:off x="10451889" y="5481271"/>
              <a:ext cx="75693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ut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atform</a:t>
              </a:r>
            </a:p>
          </p:txBody>
        </p:sp>
      </p:grpSp>
    </p:spTree>
    <p:extLst>
      <p:ext uri="{BB962C8B-B14F-4D97-AF65-F5344CB8AC3E}">
        <p14:creationId xmlns:p14="http://schemas.microsoft.com/office/powerpoint/2010/main" val="622130226"/>
      </p:ext>
    </p:extLst>
  </p:cSld>
  <p:clrMapOvr>
    <a:masterClrMapping/>
  </p:clrMapOvr>
  <p:transition spd="slow">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E28DC3E-D69B-4294-B4AF-416316D2EA0A}"/>
              </a:ext>
            </a:extLst>
          </p:cNvPr>
          <p:cNvSpPr txBox="1">
            <a:spLocks/>
          </p:cNvSpPr>
          <p:nvPr/>
        </p:nvSpPr>
        <p:spPr>
          <a:xfrm>
            <a:off x="440871" y="297825"/>
            <a:ext cx="8229600" cy="820737"/>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r>
              <a:rPr lang="en-US" sz="3200" b="1"/>
              <a:t>NCAPOP Topic areas</a:t>
            </a:r>
            <a:br>
              <a:rPr lang="en-US" sz="3200" b="1"/>
            </a:br>
            <a:endParaRPr lang="en-US" sz="3200" b="1" dirty="0"/>
          </a:p>
        </p:txBody>
      </p:sp>
      <p:pic>
        <p:nvPicPr>
          <p:cNvPr id="5" name="Picture 4">
            <a:extLst>
              <a:ext uri="{FF2B5EF4-FFF2-40B4-BE49-F238E27FC236}">
                <a16:creationId xmlns:a16="http://schemas.microsoft.com/office/drawing/2014/main" id="{5F88619E-61FC-4605-9E4E-F75CA05955DA}"/>
              </a:ext>
            </a:extLst>
          </p:cNvPr>
          <p:cNvPicPr>
            <a:picLocks noChangeAspect="1"/>
          </p:cNvPicPr>
          <p:nvPr/>
        </p:nvPicPr>
        <p:blipFill>
          <a:blip r:embed="rId2"/>
          <a:stretch>
            <a:fillRect/>
          </a:stretch>
        </p:blipFill>
        <p:spPr>
          <a:xfrm>
            <a:off x="878192" y="932095"/>
            <a:ext cx="9077325" cy="5457825"/>
          </a:xfrm>
          <a:prstGeom prst="rect">
            <a:avLst/>
          </a:prstGeom>
        </p:spPr>
      </p:pic>
    </p:spTree>
    <p:extLst>
      <p:ext uri="{BB962C8B-B14F-4D97-AF65-F5344CB8AC3E}">
        <p14:creationId xmlns:p14="http://schemas.microsoft.com/office/powerpoint/2010/main" val="3936393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686" y="375407"/>
            <a:ext cx="10515600" cy="774126"/>
          </a:xfrm>
        </p:spPr>
        <p:txBody>
          <a:bodyPr>
            <a:normAutofit/>
          </a:bodyPr>
          <a:lstStyle/>
          <a:p>
            <a:r>
              <a:rPr lang="en-US" sz="3200" b="1" dirty="0">
                <a:solidFill>
                  <a:srgbClr val="005EB8"/>
                </a:solidFill>
                <a:latin typeface="Arial" panose="020B0604020202020204" pitchFamily="34" charset="0"/>
                <a:cs typeface="Arial" panose="020B0604020202020204" pitchFamily="34" charset="0"/>
              </a:rPr>
              <a:t>NCAPOP commissioning principles</a:t>
            </a:r>
          </a:p>
        </p:txBody>
      </p:sp>
      <p:graphicFrame>
        <p:nvGraphicFramePr>
          <p:cNvPr id="4" name="Content Placeholder 6"/>
          <p:cNvGraphicFramePr>
            <a:graphicFrameLocks noGrp="1"/>
          </p:cNvGraphicFramePr>
          <p:nvPr>
            <p:ph idx="1"/>
            <p:extLst>
              <p:ext uri="{D42A27DB-BD31-4B8C-83A1-F6EECF244321}">
                <p14:modId xmlns:p14="http://schemas.microsoft.com/office/powerpoint/2010/main" val="932867455"/>
              </p:ext>
            </p:extLst>
          </p:nvPr>
        </p:nvGraphicFramePr>
        <p:xfrm>
          <a:off x="2098943" y="1735803"/>
          <a:ext cx="8229600" cy="4627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8911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A7457-805B-4976-B8AD-602FAF1BDCBC}"/>
              </a:ext>
            </a:extLst>
          </p:cNvPr>
          <p:cNvSpPr>
            <a:spLocks noGrp="1"/>
          </p:cNvSpPr>
          <p:nvPr>
            <p:ph type="title"/>
          </p:nvPr>
        </p:nvSpPr>
        <p:spPr>
          <a:xfrm>
            <a:off x="387627" y="245310"/>
            <a:ext cx="10641498" cy="611649"/>
          </a:xfrm>
        </p:spPr>
        <p:txBody>
          <a:bodyPr>
            <a:normAutofit/>
          </a:bodyPr>
          <a:lstStyle/>
          <a:p>
            <a:r>
              <a:rPr lang="en-GB" sz="3200" b="1" dirty="0"/>
              <a:t>Recent NCAPOP report examples</a:t>
            </a:r>
          </a:p>
        </p:txBody>
      </p:sp>
      <p:graphicFrame>
        <p:nvGraphicFramePr>
          <p:cNvPr id="4" name="Table 3">
            <a:extLst>
              <a:ext uri="{FF2B5EF4-FFF2-40B4-BE49-F238E27FC236}">
                <a16:creationId xmlns:a16="http://schemas.microsoft.com/office/drawing/2014/main" id="{10997489-A714-4675-9EF6-4D3A3FCC91D3}"/>
              </a:ext>
            </a:extLst>
          </p:cNvPr>
          <p:cNvGraphicFramePr>
            <a:graphicFrameLocks noGrp="1"/>
          </p:cNvGraphicFramePr>
          <p:nvPr>
            <p:extLst>
              <p:ext uri="{D42A27DB-BD31-4B8C-83A1-F6EECF244321}">
                <p14:modId xmlns:p14="http://schemas.microsoft.com/office/powerpoint/2010/main" val="1615515923"/>
              </p:ext>
            </p:extLst>
          </p:nvPr>
        </p:nvGraphicFramePr>
        <p:xfrm>
          <a:off x="387627" y="1000686"/>
          <a:ext cx="10942982" cy="5383754"/>
        </p:xfrm>
        <a:graphic>
          <a:graphicData uri="http://schemas.openxmlformats.org/drawingml/2006/table">
            <a:tbl>
              <a:tblPr firstCol="1" bandRow="1">
                <a:tableStyleId>{5C22544A-7EE6-4342-B048-85BDC9FD1C3A}</a:tableStyleId>
              </a:tblPr>
              <a:tblGrid>
                <a:gridCol w="5047678">
                  <a:extLst>
                    <a:ext uri="{9D8B030D-6E8A-4147-A177-3AD203B41FA5}">
                      <a16:colId xmlns:a16="http://schemas.microsoft.com/office/drawing/2014/main" val="2273925662"/>
                    </a:ext>
                  </a:extLst>
                </a:gridCol>
                <a:gridCol w="5895304">
                  <a:extLst>
                    <a:ext uri="{9D8B030D-6E8A-4147-A177-3AD203B41FA5}">
                      <a16:colId xmlns:a16="http://schemas.microsoft.com/office/drawing/2014/main" val="3943952265"/>
                    </a:ext>
                  </a:extLst>
                </a:gridCol>
              </a:tblGrid>
              <a:tr h="559776">
                <a:tc>
                  <a:txBody>
                    <a:bodyPr/>
                    <a:lstStyle/>
                    <a:p>
                      <a:pPr>
                        <a:lnSpc>
                          <a:spcPct val="105000"/>
                        </a:lnSpc>
                        <a:spcAft>
                          <a:spcPts val="800"/>
                        </a:spcAft>
                      </a:pPr>
                      <a:r>
                        <a:rPr lang="en-GB" sz="1400" dirty="0">
                          <a:effectLst/>
                          <a:latin typeface="Arial" panose="020B0604020202020204" pitchFamily="34" charset="0"/>
                          <a:cs typeface="Arial" panose="020B0604020202020204" pitchFamily="34" charset="0"/>
                        </a:rPr>
                        <a:t>National Diabetes Audit, 2019-20 Type 1 Diabetes England and Wales 12 August 2021 </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dirty="0">
                          <a:effectLst/>
                          <a:latin typeface="Arial" panose="020B0604020202020204" pitchFamily="34" charset="0"/>
                          <a:cs typeface="Arial" panose="020B0604020202020204" pitchFamily="34" charset="0"/>
                          <a:hlinkClick r:id="rId2"/>
                        </a:rPr>
                        <a:t>https://www.hqip.org.uk/wp-content/uploads/2021/08/REF228_NDA-Type1-Rep-2019-2020_FINAL-v20210806.pdf</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2631225146"/>
                  </a:ext>
                </a:extLst>
              </a:tr>
              <a:tr h="559776">
                <a:tc>
                  <a:txBody>
                    <a:bodyPr/>
                    <a:lstStyle/>
                    <a:p>
                      <a:pPr>
                        <a:lnSpc>
                          <a:spcPct val="105000"/>
                        </a:lnSpc>
                        <a:spcAft>
                          <a:spcPts val="800"/>
                        </a:spcAft>
                      </a:pPr>
                      <a:r>
                        <a:rPr lang="en-GB" sz="1400" dirty="0">
                          <a:effectLst/>
                          <a:latin typeface="Arial" panose="020B0604020202020204" pitchFamily="34" charset="0"/>
                          <a:cs typeface="Arial" panose="020B0604020202020204" pitchFamily="34" charset="0"/>
                        </a:rPr>
                        <a:t>National Diabetes Inpatient Audit (</a:t>
                      </a:r>
                      <a:r>
                        <a:rPr lang="en-GB" sz="1400" dirty="0" err="1">
                          <a:effectLst/>
                          <a:latin typeface="Arial" panose="020B0604020202020204" pitchFamily="34" charset="0"/>
                          <a:cs typeface="Arial" panose="020B0604020202020204" pitchFamily="34" charset="0"/>
                        </a:rPr>
                        <a:t>NaDIA</a:t>
                      </a:r>
                      <a:r>
                        <a:rPr lang="en-GB" sz="1400" dirty="0">
                          <a:effectLst/>
                          <a:latin typeface="Arial" panose="020B0604020202020204" pitchFamily="34" charset="0"/>
                          <a:cs typeface="Arial" panose="020B0604020202020204" pitchFamily="34" charset="0"/>
                        </a:rPr>
                        <a:t>) Harms, 2020 England 8 Jul 2021 Annual report</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3"/>
                        </a:rPr>
                        <a:t>https://www.hqip.org.uk/wp-content/uploads/2021/07/REF227_NaDIA-Harms-Eng_Main-Report-v1.0_FINAL-20210705.pdf</a:t>
                      </a:r>
                      <a:r>
                        <a:rPr lang="en-GB" sz="1400">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3927982523"/>
                  </a:ext>
                </a:extLst>
              </a:tr>
              <a:tr h="559776">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National Paediatric Diabetes Audit Annual report 2019-20 Care processes and outcomes</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4"/>
                        </a:rPr>
                        <a:t>https://www.hqip.org.uk/wp-content/uploads/2021/06/Ref.-261-NPDA-annual-core-Report-summary-FINAL.pdf</a:t>
                      </a:r>
                      <a:r>
                        <a:rPr lang="en-GB" sz="1400">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1352090625"/>
                  </a:ext>
                </a:extLst>
              </a:tr>
              <a:tr h="748915">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Hard to Swallow? A review of the quality of dysphagia care provided to patients with Parkinson’s disease aged 16 years and over who were admitted to hospital when acutely unwell</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5"/>
                        </a:rPr>
                        <a:t>https://www.hqip.org.uk/wp-content/uploads/2021/08/Ref.-251-Med-Surg-Dysphagia-Full-report-FINAL.pdf</a:t>
                      </a:r>
                      <a:r>
                        <a:rPr lang="en-GB" sz="1400">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1924490191"/>
                  </a:ext>
                </a:extLst>
              </a:tr>
              <a:tr h="748915">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National Asthma and Chronic Obstructive Pulmonary Disease Audit Programme (NACAP) COPD clinical audit 2019/20 (people with COPD exacerbations discharged from acute hospitals)</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6"/>
                        </a:rPr>
                        <a:t>https://www.hqip.org.uk/wp-content/uploads/2021/06/COPD_SC_data-and-methodology-report_2019-20_final.pdf</a:t>
                      </a:r>
                      <a:r>
                        <a:rPr lang="en-GB" sz="1400">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865313071"/>
                  </a:ext>
                </a:extLst>
              </a:tr>
              <a:tr h="559776">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Suicide by middle-aged men.  National Confidential Inquiry into Suicide and Safety in Mental Health.</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7"/>
                        </a:rPr>
                        <a:t>https://www.hqip.org.uk/wp-content/uploads/2021/05/NCISH_2021-Suicide-by-middle-aged-men-report_HQIP_FINAL.pdf</a:t>
                      </a:r>
                      <a:r>
                        <a:rPr lang="en-GB" sz="1400">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3717322735"/>
                  </a:ext>
                </a:extLst>
              </a:tr>
              <a:tr h="181497">
                <a:tc gridSpan="2">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Examples of near real time dynamic reporting / dashboards</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hMerge="1">
                  <a:txBody>
                    <a:bodyPr/>
                    <a:lstStyle/>
                    <a:p>
                      <a:endParaRPr lang="en-GB"/>
                    </a:p>
                  </a:txBody>
                  <a:tcPr/>
                </a:tc>
                <a:extLst>
                  <a:ext uri="{0D108BD9-81ED-4DB2-BD59-A6C34878D82A}">
                    <a16:rowId xmlns:a16="http://schemas.microsoft.com/office/drawing/2014/main" val="3199008776"/>
                  </a:ext>
                </a:extLst>
              </a:tr>
              <a:tr h="489634">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National hip fracture database (NHFD)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8"/>
                        </a:rPr>
                        <a:t>https://www.nhfd.co.uk/charts</a:t>
                      </a:r>
                      <a:r>
                        <a:rPr lang="en-GB" sz="1400">
                          <a:effectLst/>
                          <a:latin typeface="Arial" panose="020B0604020202020204" pitchFamily="34" charset="0"/>
                          <a:cs typeface="Arial" panose="020B0604020202020204" pitchFamily="34" charset="0"/>
                        </a:rPr>
                        <a:t> </a:t>
                      </a:r>
                    </a:p>
                    <a:p>
                      <a:pPr>
                        <a:lnSpc>
                          <a:spcPct val="105000"/>
                        </a:lnSpc>
                        <a:spcAft>
                          <a:spcPts val="800"/>
                        </a:spcAft>
                      </a:pPr>
                      <a:r>
                        <a:rPr lang="en-GB" sz="1400">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3446885396"/>
                  </a:ext>
                </a:extLst>
              </a:tr>
              <a:tr h="370637">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National Emergency Laparotomy Audit (NELA)</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a:effectLst/>
                          <a:latin typeface="Arial" panose="020B0604020202020204" pitchFamily="34" charset="0"/>
                          <a:cs typeface="Arial" panose="020B0604020202020204" pitchFamily="34" charset="0"/>
                          <a:hlinkClick r:id="rId9"/>
                        </a:rPr>
                        <a:t>https://data.nela.org.uk/Documents/Hospital/88/Year6-2/88_Year6-2_QuarterlyReport-pdf.aspx</a:t>
                      </a:r>
                      <a:r>
                        <a:rPr lang="en-GB" sz="1400" u="sng">
                          <a:effectLst/>
                          <a:latin typeface="Arial" panose="020B0604020202020204" pitchFamily="34"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3331614567"/>
                  </a:ext>
                </a:extLst>
              </a:tr>
              <a:tr h="181497">
                <a:tc>
                  <a:txBody>
                    <a:bodyPr/>
                    <a:lstStyle/>
                    <a:p>
                      <a:pPr>
                        <a:lnSpc>
                          <a:spcPct val="105000"/>
                        </a:lnSpc>
                        <a:spcAft>
                          <a:spcPts val="800"/>
                        </a:spcAft>
                      </a:pPr>
                      <a:r>
                        <a:rPr lang="en-GB" sz="1400">
                          <a:effectLst/>
                          <a:latin typeface="Arial" panose="020B0604020202020204" pitchFamily="34" charset="0"/>
                          <a:cs typeface="Arial" panose="020B0604020202020204" pitchFamily="34" charset="0"/>
                        </a:rPr>
                        <a:t>National Paediatric diabetes audi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tc>
                  <a:txBody>
                    <a:bodyPr/>
                    <a:lstStyle/>
                    <a:p>
                      <a:pPr>
                        <a:lnSpc>
                          <a:spcPct val="105000"/>
                        </a:lnSpc>
                        <a:spcAft>
                          <a:spcPts val="800"/>
                        </a:spcAft>
                      </a:pPr>
                      <a:r>
                        <a:rPr lang="en-GB" sz="1400" u="sng" dirty="0">
                          <a:effectLst/>
                          <a:latin typeface="Arial" panose="020B0604020202020204" pitchFamily="34" charset="0"/>
                          <a:cs typeface="Arial" panose="020B0604020202020204" pitchFamily="34" charset="0"/>
                          <a:hlinkClick r:id="rId10"/>
                        </a:rPr>
                        <a:t>https://npda-results.rcpch.ac.uk/default.aspx</a:t>
                      </a:r>
                      <a:r>
                        <a:rPr lang="en-GB" sz="1400" u="sng" dirty="0">
                          <a:effectLst/>
                          <a:latin typeface="Arial" panose="020B0604020202020204" pitchFamily="34" charset="0"/>
                          <a:cs typeface="Arial" panose="020B0604020202020204" pitchFamily="34" charset="0"/>
                        </a:rPr>
                        <a:t> </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2483" marR="62483" marT="0" marB="0"/>
                </a:tc>
                <a:extLst>
                  <a:ext uri="{0D108BD9-81ED-4DB2-BD59-A6C34878D82A}">
                    <a16:rowId xmlns:a16="http://schemas.microsoft.com/office/drawing/2014/main" val="1665718698"/>
                  </a:ext>
                </a:extLst>
              </a:tr>
            </a:tbl>
          </a:graphicData>
        </a:graphic>
      </p:graphicFrame>
    </p:spTree>
    <p:extLst>
      <p:ext uri="{BB962C8B-B14F-4D97-AF65-F5344CB8AC3E}">
        <p14:creationId xmlns:p14="http://schemas.microsoft.com/office/powerpoint/2010/main" val="1588617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AF2EA8-4B6E-9141-9A21-57AF27015B2D}"/>
              </a:ext>
            </a:extLst>
          </p:cNvPr>
          <p:cNvSpPr/>
          <p:nvPr/>
        </p:nvSpPr>
        <p:spPr>
          <a:xfrm>
            <a:off x="0" y="0"/>
            <a:ext cx="12192000" cy="6857999"/>
          </a:xfrm>
          <a:prstGeom prst="rect">
            <a:avLst/>
          </a:prstGeom>
          <a:gradFill flip="none" rotWithShape="1">
            <a:gsLst>
              <a:gs pos="0">
                <a:schemeClr val="tx2"/>
              </a:gs>
              <a:gs pos="99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6FFA9A0-CFD0-4A65-945B-AED4297394F5}"/>
              </a:ext>
            </a:extLst>
          </p:cNvPr>
          <p:cNvSpPr>
            <a:spLocks noGrp="1"/>
          </p:cNvSpPr>
          <p:nvPr>
            <p:ph type="title"/>
          </p:nvPr>
        </p:nvSpPr>
        <p:spPr>
          <a:xfrm>
            <a:off x="654125" y="2480418"/>
            <a:ext cx="10924961" cy="1267985"/>
          </a:xfrm>
        </p:spPr>
        <p:txBody>
          <a:bodyPr anchor="t"/>
          <a:lstStyle/>
          <a:p>
            <a:r>
              <a:rPr lang="en-GB" sz="4800" dirty="0">
                <a:solidFill>
                  <a:schemeClr val="bg1"/>
                </a:solidFill>
              </a:rPr>
              <a:t>Clinical Audit for Improvement</a:t>
            </a:r>
          </a:p>
        </p:txBody>
      </p:sp>
      <p:cxnSp>
        <p:nvCxnSpPr>
          <p:cNvPr id="14" name="Straight Connector 13">
            <a:extLst>
              <a:ext uri="{FF2B5EF4-FFF2-40B4-BE49-F238E27FC236}">
                <a16:creationId xmlns:a16="http://schemas.microsoft.com/office/drawing/2014/main" id="{49316DD1-E02D-4B63-B401-5F85E726F143}"/>
              </a:ext>
            </a:extLst>
          </p:cNvPr>
          <p:cNvCxnSpPr>
            <a:cxnSpLocks/>
          </p:cNvCxnSpPr>
          <p:nvPr/>
        </p:nvCxnSpPr>
        <p:spPr>
          <a:xfrm>
            <a:off x="654126" y="3331000"/>
            <a:ext cx="10883748"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862082"/>
      </p:ext>
    </p:extLst>
  </p:cSld>
  <p:clrMapOvr>
    <a:masterClrMapping/>
  </p:clrMapOvr>
  <p:transition spd="slow">
    <p:cut/>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a:extLst>
              <a:ext uri="{FF2B5EF4-FFF2-40B4-BE49-F238E27FC236}">
                <a16:creationId xmlns:a16="http://schemas.microsoft.com/office/drawing/2014/main" id="{394CB7D6-E15A-47F4-B439-8E07CDBB11A8}"/>
              </a:ext>
            </a:extLst>
          </p:cNvPr>
          <p:cNvSpPr txBox="1">
            <a:spLocks/>
          </p:cNvSpPr>
          <p:nvPr/>
        </p:nvSpPr>
        <p:spPr>
          <a:xfrm>
            <a:off x="824838" y="431674"/>
            <a:ext cx="8756073" cy="611649"/>
          </a:xfrm>
          <a:prstGeom prst="rect">
            <a:avLst/>
          </a:prstGeom>
        </p:spPr>
        <p:txBody>
          <a:bodyPr lIns="0" tIns="0" rIns="0" bIns="0"/>
          <a:lstStyle>
            <a:lvl1pPr algn="l" defTabSz="914400" rtl="0" eaLnBrk="1" latinLnBrk="0" hangingPunct="1">
              <a:lnSpc>
                <a:spcPct val="90000"/>
              </a:lnSpc>
              <a:spcBef>
                <a:spcPct val="0"/>
              </a:spcBef>
              <a:buNone/>
              <a:defRPr sz="3200" b="1"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a:ln>
                  <a:noFill/>
                </a:ln>
                <a:solidFill>
                  <a:srgbClr val="005EB8"/>
                </a:solidFill>
                <a:effectLst/>
                <a:uLnTx/>
                <a:uFillTx/>
                <a:latin typeface="Arial" panose="020B0604020202020204" pitchFamily="34" charset="0"/>
                <a:ea typeface="+mj-ea"/>
                <a:cs typeface="Arial" panose="020B0604020202020204" pitchFamily="34" charset="0"/>
              </a:rPr>
              <a:t>Draft Vision</a:t>
            </a:r>
            <a:endParaRPr kumimoji="0" lang="en-GB" sz="32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endParaRPr>
          </a:p>
        </p:txBody>
      </p:sp>
      <p:pic>
        <p:nvPicPr>
          <p:cNvPr id="3" name="Graphic 2" descr="Lightbulb">
            <a:extLst>
              <a:ext uri="{FF2B5EF4-FFF2-40B4-BE49-F238E27FC236}">
                <a16:creationId xmlns:a16="http://schemas.microsoft.com/office/drawing/2014/main" id="{CC4F8259-434C-4187-954A-3A2DD9D377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73528" y="2633807"/>
            <a:ext cx="1590386" cy="1590386"/>
          </a:xfrm>
          <a:prstGeom prst="rect">
            <a:avLst/>
          </a:prstGeom>
        </p:spPr>
      </p:pic>
      <p:sp>
        <p:nvSpPr>
          <p:cNvPr id="8" name="Content Placeholder 7">
            <a:extLst>
              <a:ext uri="{FF2B5EF4-FFF2-40B4-BE49-F238E27FC236}">
                <a16:creationId xmlns:a16="http://schemas.microsoft.com/office/drawing/2014/main" id="{529CF2BA-F685-4541-BF72-F6848A80DDA5}"/>
              </a:ext>
            </a:extLst>
          </p:cNvPr>
          <p:cNvSpPr>
            <a:spLocks noGrp="1"/>
          </p:cNvSpPr>
          <p:nvPr>
            <p:ph idx="1"/>
          </p:nvPr>
        </p:nvSpPr>
        <p:spPr>
          <a:xfrm>
            <a:off x="838200" y="1200727"/>
            <a:ext cx="9160565" cy="4976236"/>
          </a:xfrm>
        </p:spPr>
        <p:txBody>
          <a:bodyPr>
            <a:normAutofit/>
          </a:bodyPr>
          <a:lstStyle/>
          <a:p>
            <a:pPr marL="0" indent="0">
              <a:buNone/>
            </a:pPr>
            <a:r>
              <a:rPr lang="en-US" sz="1600" dirty="0">
                <a:latin typeface="Arial" panose="020B0604020202020204" pitchFamily="34" charset="0"/>
                <a:cs typeface="Arial" panose="020B0604020202020204" pitchFamily="34" charset="0"/>
              </a:rPr>
              <a:t>Clinical Audit for Improvement is achieved by:</a:t>
            </a:r>
          </a:p>
          <a:p>
            <a:pPr marL="0" indent="0">
              <a:buNone/>
            </a:pPr>
            <a:endParaRPr lang="en-US" sz="1600" dirty="0">
              <a:latin typeface="Arial" panose="020B0604020202020204" pitchFamily="34" charset="0"/>
              <a:cs typeface="Arial" panose="020B0604020202020204" pitchFamily="34" charset="0"/>
            </a:endParaRPr>
          </a:p>
          <a:p>
            <a:pPr marL="342900" indent="-342900">
              <a:buFont typeface="+mj-lt"/>
              <a:buAutoNum type="arabicPeriod"/>
            </a:pPr>
            <a:r>
              <a:rPr lang="en-US" sz="1600" dirty="0">
                <a:latin typeface="Arial" panose="020B0604020202020204" pitchFamily="34" charset="0"/>
                <a:cs typeface="Arial" panose="020B0604020202020204" pitchFamily="34" charset="0"/>
              </a:rPr>
              <a:t>A </a:t>
            </a:r>
            <a:r>
              <a:rPr lang="en-US" sz="1600" dirty="0" err="1">
                <a:latin typeface="Arial" panose="020B0604020202020204" pitchFamily="34" charset="0"/>
                <a:cs typeface="Arial" panose="020B0604020202020204" pitchFamily="34" charset="0"/>
              </a:rPr>
              <a:t>prioritisation</a:t>
            </a:r>
            <a:r>
              <a:rPr lang="en-US" sz="1600" dirty="0">
                <a:latin typeface="Arial" panose="020B0604020202020204" pitchFamily="34" charset="0"/>
                <a:cs typeface="Arial" panose="020B0604020202020204" pitchFamily="34" charset="0"/>
              </a:rPr>
              <a:t> of recommendations, with patient safety at the top of the hierarchy.</a:t>
            </a:r>
            <a:endParaRPr lang="en-GB" sz="1600" dirty="0">
              <a:latin typeface="Arial" panose="020B0604020202020204" pitchFamily="34" charset="0"/>
              <a:cs typeface="Arial" panose="020B0604020202020204" pitchFamily="34" charset="0"/>
            </a:endParaRPr>
          </a:p>
          <a:p>
            <a:pPr marL="342900" indent="-342900">
              <a:buFont typeface="+mj-lt"/>
              <a:buAutoNum type="arabicPeriod"/>
            </a:pPr>
            <a:r>
              <a:rPr lang="en-US" sz="1600" dirty="0">
                <a:latin typeface="Arial" panose="020B0604020202020204" pitchFamily="34" charset="0"/>
                <a:cs typeface="Arial" panose="020B0604020202020204" pitchFamily="34" charset="0"/>
              </a:rPr>
              <a:t>Automated, real-time data for all clinical audits in the Model Health System, with benchmarking, dashboards, early warning systems and alerts available to all stakeholders.</a:t>
            </a:r>
            <a:endParaRPr lang="en-GB" sz="1600" dirty="0">
              <a:latin typeface="Arial" panose="020B0604020202020204" pitchFamily="34" charset="0"/>
              <a:cs typeface="Arial" panose="020B0604020202020204" pitchFamily="34" charset="0"/>
            </a:endParaRPr>
          </a:p>
          <a:p>
            <a:pPr marL="342900" indent="-342900">
              <a:buFont typeface="+mj-lt"/>
              <a:buAutoNum type="arabicPeriod"/>
            </a:pPr>
            <a:r>
              <a:rPr lang="en-US" sz="1600" dirty="0">
                <a:latin typeface="Arial" panose="020B0604020202020204" pitchFamily="34" charset="0"/>
                <a:cs typeface="Arial" panose="020B0604020202020204" pitchFamily="34" charset="0"/>
              </a:rPr>
              <a:t>A focus on quality improvement to embed recommendations at the front-line.</a:t>
            </a:r>
            <a:endParaRPr lang="en-GB" sz="1600" dirty="0">
              <a:latin typeface="Arial" panose="020B0604020202020204" pitchFamily="34" charset="0"/>
              <a:cs typeface="Arial" panose="020B0604020202020204" pitchFamily="34" charset="0"/>
            </a:endParaRPr>
          </a:p>
          <a:p>
            <a:pPr marL="342900" indent="-342900">
              <a:buFont typeface="+mj-lt"/>
              <a:buAutoNum type="arabicPeriod"/>
            </a:pPr>
            <a:r>
              <a:rPr lang="en-US" sz="1600" dirty="0">
                <a:latin typeface="Arial" panose="020B0604020202020204" pitchFamily="34" charset="0"/>
                <a:cs typeface="Arial" panose="020B0604020202020204" pitchFamily="34" charset="0"/>
              </a:rPr>
              <a:t>Clear communication and training, whereby everyone knows how and where to access clinical audit data and recommendations and understands what it means.</a:t>
            </a:r>
          </a:p>
          <a:p>
            <a:pPr marL="342900" indent="-342900">
              <a:buFont typeface="+mj-lt"/>
              <a:buAutoNum type="arabicPeriod"/>
            </a:pPr>
            <a:r>
              <a:rPr lang="en-US" sz="1600" dirty="0">
                <a:latin typeface="Arial" panose="020B0604020202020204" pitchFamily="34" charset="0"/>
                <a:cs typeface="Arial" panose="020B0604020202020204" pitchFamily="34" charset="0"/>
              </a:rPr>
              <a:t>A central repository to facilitate easy access to the latest recommendations and best practice.</a:t>
            </a:r>
          </a:p>
          <a:p>
            <a:pPr marL="342900" indent="-342900">
              <a:buFont typeface="+mj-lt"/>
              <a:buAutoNum type="arabicPeriod"/>
            </a:pPr>
            <a:r>
              <a:rPr lang="en-US" sz="1600" dirty="0">
                <a:latin typeface="Arial" panose="020B0604020202020204" pitchFamily="34" charset="0"/>
                <a:cs typeface="Arial" panose="020B0604020202020204" pitchFamily="34" charset="0"/>
              </a:rPr>
              <a:t>Supported by strong leadership across NHSEI </a:t>
            </a:r>
            <a:r>
              <a:rPr lang="en-US" sz="1600" dirty="0" err="1">
                <a:latin typeface="Arial" panose="020B0604020202020204" pitchFamily="34" charset="0"/>
                <a:cs typeface="Arial" panose="020B0604020202020204" pitchFamily="34" charset="0"/>
              </a:rPr>
              <a:t>Programmes</a:t>
            </a:r>
            <a:r>
              <a:rPr lang="en-US" sz="1600" dirty="0">
                <a:latin typeface="Arial" panose="020B0604020202020204" pitchFamily="34" charset="0"/>
                <a:cs typeface="Arial" panose="020B0604020202020204" pitchFamily="34" charset="0"/>
              </a:rPr>
              <a:t> as well as good engagement from the frontline.</a:t>
            </a:r>
          </a:p>
          <a:p>
            <a:pPr marL="342900" indent="-342900">
              <a:buFont typeface="+mj-lt"/>
              <a:buAutoNum type="arabicPeriod"/>
            </a:pPr>
            <a:r>
              <a:rPr lang="en-US" sz="1600" dirty="0">
                <a:latin typeface="Arial" panose="020B0604020202020204" pitchFamily="34" charset="0"/>
                <a:cs typeface="Arial" panose="020B0604020202020204" pitchFamily="34" charset="0"/>
              </a:rPr>
              <a:t>Local needs assessment that informs system priorities.</a:t>
            </a:r>
            <a:endParaRPr lang="en-GB" sz="1600" dirty="0">
              <a:latin typeface="Arial" panose="020B0604020202020204" pitchFamily="34" charset="0"/>
              <a:cs typeface="Arial" panose="020B0604020202020204" pitchFamily="34" charset="0"/>
            </a:endParaRPr>
          </a:p>
          <a:p>
            <a:pPr marL="342900" indent="-342900">
              <a:buFont typeface="+mj-lt"/>
              <a:buAutoNum type="arabicPeriod"/>
            </a:pPr>
            <a:r>
              <a:rPr lang="en-US" sz="1600" dirty="0">
                <a:latin typeface="Arial" panose="020B0604020202020204" pitchFamily="34" charset="0"/>
                <a:cs typeface="Arial" panose="020B0604020202020204" pitchFamily="34" charset="0"/>
              </a:rPr>
              <a:t>Routine inclusion in education, on-going training &amp; professional development, and job planning.</a:t>
            </a:r>
            <a:endParaRPr lang="en-GB" sz="1600" dirty="0">
              <a:latin typeface="Arial" panose="020B0604020202020204" pitchFamily="34" charset="0"/>
              <a:cs typeface="Arial" panose="020B0604020202020204" pitchFamily="34" charset="0"/>
            </a:endParaRPr>
          </a:p>
          <a:p>
            <a:pPr marL="342900" indent="-342900">
              <a:buFont typeface="+mj-lt"/>
              <a:buAutoNum type="arabicPeriod"/>
            </a:pPr>
            <a:r>
              <a:rPr lang="en-US" sz="1600" dirty="0">
                <a:latin typeface="Arial" panose="020B0604020202020204" pitchFamily="34" charset="0"/>
                <a:cs typeface="Arial" panose="020B0604020202020204" pitchFamily="34" charset="0"/>
              </a:rPr>
              <a:t>Appropriately resourced system wide, with recommendations feeding into appropriate policy &amp; strategy.</a:t>
            </a:r>
            <a:endParaRPr lang="en-GB"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13383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7BF3A1-27FA-424E-8626-245029F946E5}"/>
              </a:ext>
            </a:extLst>
          </p:cNvPr>
          <p:cNvSpPr>
            <a:spLocks noGrp="1"/>
          </p:cNvSpPr>
          <p:nvPr>
            <p:ph sz="quarter" idx="10"/>
          </p:nvPr>
        </p:nvSpPr>
        <p:spPr>
          <a:xfrm>
            <a:off x="483301" y="391974"/>
            <a:ext cx="11074005" cy="1824195"/>
          </a:xfrm>
        </p:spPr>
        <p:txBody>
          <a:bodyPr/>
          <a:lstStyle/>
          <a:p>
            <a:pPr marL="0" indent="0">
              <a:buNone/>
            </a:pPr>
            <a:r>
              <a:rPr lang="en-GB" sz="4400" b="1" dirty="0">
                <a:solidFill>
                  <a:schemeClr val="accent2"/>
                </a:solidFill>
              </a:rPr>
              <a:t>Poll: Which are the top three vision statements that you want to see achieved? </a:t>
            </a:r>
          </a:p>
          <a:p>
            <a:pPr marL="0" indent="0">
              <a:buNone/>
            </a:pPr>
            <a:endParaRPr lang="en-GB" sz="4400" b="1" dirty="0">
              <a:solidFill>
                <a:schemeClr val="accent2"/>
              </a:solidFill>
            </a:endParaRPr>
          </a:p>
        </p:txBody>
      </p:sp>
      <p:pic>
        <p:nvPicPr>
          <p:cNvPr id="5" name="Graphic 4" descr="Customer review">
            <a:extLst>
              <a:ext uri="{FF2B5EF4-FFF2-40B4-BE49-F238E27FC236}">
                <a16:creationId xmlns:a16="http://schemas.microsoft.com/office/drawing/2014/main" id="{ABB75A70-5D5B-438F-B982-812FFAD522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10007" y="4711339"/>
            <a:ext cx="1754687" cy="1754687"/>
          </a:xfrm>
          <a:prstGeom prst="rect">
            <a:avLst/>
          </a:prstGeom>
        </p:spPr>
      </p:pic>
      <p:pic>
        <p:nvPicPr>
          <p:cNvPr id="7" name="Picture 6">
            <a:extLst>
              <a:ext uri="{FF2B5EF4-FFF2-40B4-BE49-F238E27FC236}">
                <a16:creationId xmlns:a16="http://schemas.microsoft.com/office/drawing/2014/main" id="{7DFAE6BC-4561-4728-AD5C-37460F574709}"/>
              </a:ext>
            </a:extLst>
          </p:cNvPr>
          <p:cNvPicPr>
            <a:picLocks noChangeAspect="1"/>
          </p:cNvPicPr>
          <p:nvPr/>
        </p:nvPicPr>
        <p:blipFill>
          <a:blip r:embed="rId4"/>
          <a:stretch>
            <a:fillRect/>
          </a:stretch>
        </p:blipFill>
        <p:spPr>
          <a:xfrm>
            <a:off x="1211812" y="2216169"/>
            <a:ext cx="8362950" cy="4229100"/>
          </a:xfrm>
          <a:prstGeom prst="rect">
            <a:avLst/>
          </a:prstGeom>
        </p:spPr>
      </p:pic>
    </p:spTree>
    <p:extLst>
      <p:ext uri="{BB962C8B-B14F-4D97-AF65-F5344CB8AC3E}">
        <p14:creationId xmlns:p14="http://schemas.microsoft.com/office/powerpoint/2010/main" val="18267559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7BF3A1-27FA-424E-8626-245029F946E5}"/>
              </a:ext>
            </a:extLst>
          </p:cNvPr>
          <p:cNvSpPr>
            <a:spLocks noGrp="1"/>
          </p:cNvSpPr>
          <p:nvPr>
            <p:ph sz="quarter" idx="10"/>
          </p:nvPr>
        </p:nvSpPr>
        <p:spPr>
          <a:xfrm>
            <a:off x="483302" y="391975"/>
            <a:ext cx="9972664" cy="1436826"/>
          </a:xfrm>
        </p:spPr>
        <p:txBody>
          <a:bodyPr/>
          <a:lstStyle/>
          <a:p>
            <a:pPr marL="0" indent="0">
              <a:buNone/>
            </a:pPr>
            <a:r>
              <a:rPr lang="en-GB" sz="4400" b="1" dirty="0">
                <a:solidFill>
                  <a:schemeClr val="accent2"/>
                </a:solidFill>
              </a:rPr>
              <a:t>Poll: In a single word, can you describe any gaps?</a:t>
            </a:r>
          </a:p>
          <a:p>
            <a:pPr marL="0" indent="0">
              <a:buNone/>
            </a:pPr>
            <a:endParaRPr lang="en-GB" sz="4400" b="1" dirty="0">
              <a:solidFill>
                <a:schemeClr val="accent2"/>
              </a:solidFill>
            </a:endParaRPr>
          </a:p>
        </p:txBody>
      </p:sp>
      <p:pic>
        <p:nvPicPr>
          <p:cNvPr id="5" name="Graphic 4" descr="Customer review">
            <a:extLst>
              <a:ext uri="{FF2B5EF4-FFF2-40B4-BE49-F238E27FC236}">
                <a16:creationId xmlns:a16="http://schemas.microsoft.com/office/drawing/2014/main" id="{ABB75A70-5D5B-438F-B982-812FFAD522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10007" y="4711339"/>
            <a:ext cx="1754687" cy="1754687"/>
          </a:xfrm>
          <a:prstGeom prst="rect">
            <a:avLst/>
          </a:prstGeom>
        </p:spPr>
      </p:pic>
      <p:pic>
        <p:nvPicPr>
          <p:cNvPr id="7" name="Picture 6">
            <a:extLst>
              <a:ext uri="{FF2B5EF4-FFF2-40B4-BE49-F238E27FC236}">
                <a16:creationId xmlns:a16="http://schemas.microsoft.com/office/drawing/2014/main" id="{7DFAE6BC-4561-4728-AD5C-37460F574709}"/>
              </a:ext>
            </a:extLst>
          </p:cNvPr>
          <p:cNvPicPr>
            <a:picLocks noChangeAspect="1"/>
          </p:cNvPicPr>
          <p:nvPr/>
        </p:nvPicPr>
        <p:blipFill>
          <a:blip r:embed="rId4"/>
          <a:stretch>
            <a:fillRect/>
          </a:stretch>
        </p:blipFill>
        <p:spPr>
          <a:xfrm>
            <a:off x="1211812" y="2216169"/>
            <a:ext cx="8362950" cy="4229100"/>
          </a:xfrm>
          <a:prstGeom prst="rect">
            <a:avLst/>
          </a:prstGeom>
        </p:spPr>
      </p:pic>
    </p:spTree>
    <p:extLst>
      <p:ext uri="{BB962C8B-B14F-4D97-AF65-F5344CB8AC3E}">
        <p14:creationId xmlns:p14="http://schemas.microsoft.com/office/powerpoint/2010/main" val="2293474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D5A1834-8B37-4E4E-AD87-624351CBC254}"/>
              </a:ext>
            </a:extLst>
          </p:cNvPr>
          <p:cNvPicPr>
            <a:picLocks noChangeAspect="1"/>
          </p:cNvPicPr>
          <p:nvPr/>
        </p:nvPicPr>
        <p:blipFill>
          <a:blip r:embed="rId3"/>
          <a:srcRect/>
          <a:stretch/>
        </p:blipFill>
        <p:spPr>
          <a:xfrm>
            <a:off x="-10655" y="-2201"/>
            <a:ext cx="12191998" cy="6858000"/>
          </a:xfrm>
          <a:prstGeom prst="rect">
            <a:avLst/>
          </a:prstGeom>
        </p:spPr>
      </p:pic>
      <p:pic>
        <p:nvPicPr>
          <p:cNvPr id="7" name="Picture 6">
            <a:extLst>
              <a:ext uri="{FF2B5EF4-FFF2-40B4-BE49-F238E27FC236}">
                <a16:creationId xmlns:a16="http://schemas.microsoft.com/office/drawing/2014/main" id="{D78783F4-B379-A742-9E6F-FD90EE92676D}"/>
              </a:ext>
            </a:extLst>
          </p:cNvPr>
          <p:cNvPicPr>
            <a:picLocks noChangeAspect="1"/>
          </p:cNvPicPr>
          <p:nvPr/>
        </p:nvPicPr>
        <p:blipFill>
          <a:blip r:embed="rId4"/>
          <a:srcRect/>
          <a:stretch/>
        </p:blipFill>
        <p:spPr>
          <a:xfrm>
            <a:off x="10665940" y="429490"/>
            <a:ext cx="1064859" cy="436418"/>
          </a:xfrm>
          <a:prstGeom prst="rect">
            <a:avLst/>
          </a:prstGeom>
        </p:spPr>
      </p:pic>
      <p:cxnSp>
        <p:nvCxnSpPr>
          <p:cNvPr id="13" name="Straight Connector 12">
            <a:extLst>
              <a:ext uri="{FF2B5EF4-FFF2-40B4-BE49-F238E27FC236}">
                <a16:creationId xmlns:a16="http://schemas.microsoft.com/office/drawing/2014/main" id="{D8108904-025F-3D43-83A9-ABBBB257CF97}"/>
              </a:ext>
            </a:extLst>
          </p:cNvPr>
          <p:cNvCxnSpPr>
            <a:cxnSpLocks/>
          </p:cNvCxnSpPr>
          <p:nvPr/>
        </p:nvCxnSpPr>
        <p:spPr>
          <a:xfrm flipV="1">
            <a:off x="0" y="462825"/>
            <a:ext cx="4853873" cy="2145749"/>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E211CA60-0B79-2641-B476-24858DEA76AA}"/>
              </a:ext>
            </a:extLst>
          </p:cNvPr>
          <p:cNvSpPr/>
          <p:nvPr/>
        </p:nvSpPr>
        <p:spPr>
          <a:xfrm>
            <a:off x="4427112" y="76106"/>
            <a:ext cx="3337775" cy="877163"/>
          </a:xfrm>
          <a:prstGeom prst="rect">
            <a:avLst/>
          </a:prstGeom>
        </p:spPr>
        <p:txBody>
          <a:bodyPr wrap="squar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panose="020B0604020202020204" pitchFamily="34" charset="0"/>
                <a:ea typeface="+mn-ea"/>
                <a:cs typeface="Arial" panose="020B0604020202020204" pitchFamily="34" charset="0"/>
              </a:rPr>
              <a:t>Clinical Aud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panose="020B0604020202020204" pitchFamily="34" charset="0"/>
                <a:ea typeface="+mn-ea"/>
                <a:cs typeface="Arial" panose="020B0604020202020204" pitchFamily="34" charset="0"/>
              </a:rPr>
              <a:t>for Improv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panose="020B0604020202020204" pitchFamily="34" charset="0"/>
                <a:ea typeface="+mn-ea"/>
                <a:cs typeface="Arial" panose="020B0604020202020204" pitchFamily="34" charset="0"/>
              </a:rPr>
              <a:t>Stakeholders</a:t>
            </a:r>
          </a:p>
        </p:txBody>
      </p:sp>
      <p:sp>
        <p:nvSpPr>
          <p:cNvPr id="135" name="Hexagon 134">
            <a:extLst>
              <a:ext uri="{FF2B5EF4-FFF2-40B4-BE49-F238E27FC236}">
                <a16:creationId xmlns:a16="http://schemas.microsoft.com/office/drawing/2014/main" id="{C6AA1144-2983-744C-A783-1C30312E6E8B}"/>
              </a:ext>
            </a:extLst>
          </p:cNvPr>
          <p:cNvSpPr/>
          <p:nvPr/>
        </p:nvSpPr>
        <p:spPr>
          <a:xfrm>
            <a:off x="1134451" y="-11437"/>
            <a:ext cx="1260468" cy="10866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s</a:t>
            </a:r>
          </a:p>
        </p:txBody>
      </p:sp>
      <p:sp>
        <p:nvSpPr>
          <p:cNvPr id="139" name="Rectangle 138">
            <a:extLst>
              <a:ext uri="{FF2B5EF4-FFF2-40B4-BE49-F238E27FC236}">
                <a16:creationId xmlns:a16="http://schemas.microsoft.com/office/drawing/2014/main" id="{DF68090A-43FD-C94E-B162-18C0E17BC609}"/>
              </a:ext>
            </a:extLst>
          </p:cNvPr>
          <p:cNvSpPr/>
          <p:nvPr/>
        </p:nvSpPr>
        <p:spPr>
          <a:xfrm rot="20843502">
            <a:off x="2699314" y="409669"/>
            <a:ext cx="1649491"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s and Public</a:t>
            </a:r>
          </a:p>
        </p:txBody>
      </p:sp>
      <p:sp>
        <p:nvSpPr>
          <p:cNvPr id="8" name="Rectangle 7">
            <a:extLst>
              <a:ext uri="{FF2B5EF4-FFF2-40B4-BE49-F238E27FC236}">
                <a16:creationId xmlns:a16="http://schemas.microsoft.com/office/drawing/2014/main" id="{9C4DD1AC-FB7F-401B-A2C6-16272EE3A6AB}"/>
              </a:ext>
            </a:extLst>
          </p:cNvPr>
          <p:cNvSpPr/>
          <p:nvPr/>
        </p:nvSpPr>
        <p:spPr>
          <a:xfrm rot="20031339">
            <a:off x="3366103" y="1121956"/>
            <a:ext cx="1611018"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ional Directives</a:t>
            </a:r>
          </a:p>
        </p:txBody>
      </p:sp>
      <p:sp>
        <p:nvSpPr>
          <p:cNvPr id="9" name="Rectangle 8">
            <a:extLst>
              <a:ext uri="{FF2B5EF4-FFF2-40B4-BE49-F238E27FC236}">
                <a16:creationId xmlns:a16="http://schemas.microsoft.com/office/drawing/2014/main" id="{DADADBB7-35DA-42E8-BD7A-A3C885D5C1A7}"/>
              </a:ext>
            </a:extLst>
          </p:cNvPr>
          <p:cNvSpPr/>
          <p:nvPr/>
        </p:nvSpPr>
        <p:spPr>
          <a:xfrm rot="19591065">
            <a:off x="4114310" y="1986274"/>
            <a:ext cx="705322"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ions</a:t>
            </a:r>
          </a:p>
        </p:txBody>
      </p:sp>
      <p:sp>
        <p:nvSpPr>
          <p:cNvPr id="11" name="Rectangle 10">
            <a:extLst>
              <a:ext uri="{FF2B5EF4-FFF2-40B4-BE49-F238E27FC236}">
                <a16:creationId xmlns:a16="http://schemas.microsoft.com/office/drawing/2014/main" id="{CD0AF298-A0A4-4DD7-992A-00D5F98ACC56}"/>
              </a:ext>
            </a:extLst>
          </p:cNvPr>
          <p:cNvSpPr/>
          <p:nvPr/>
        </p:nvSpPr>
        <p:spPr>
          <a:xfrm rot="18587446">
            <a:off x="4765546" y="2415114"/>
            <a:ext cx="827151"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viders</a:t>
            </a:r>
          </a:p>
        </p:txBody>
      </p:sp>
      <p:sp>
        <p:nvSpPr>
          <p:cNvPr id="12" name="Rectangle 11">
            <a:extLst>
              <a:ext uri="{FF2B5EF4-FFF2-40B4-BE49-F238E27FC236}">
                <a16:creationId xmlns:a16="http://schemas.microsoft.com/office/drawing/2014/main" id="{118BDFCD-CF5E-4501-8DCB-021F4B420C9B}"/>
              </a:ext>
            </a:extLst>
          </p:cNvPr>
          <p:cNvSpPr/>
          <p:nvPr/>
        </p:nvSpPr>
        <p:spPr>
          <a:xfrm>
            <a:off x="5993384" y="2818668"/>
            <a:ext cx="737382"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ystems</a:t>
            </a:r>
          </a:p>
        </p:txBody>
      </p:sp>
      <p:sp>
        <p:nvSpPr>
          <p:cNvPr id="14" name="Rectangle 13">
            <a:extLst>
              <a:ext uri="{FF2B5EF4-FFF2-40B4-BE49-F238E27FC236}">
                <a16:creationId xmlns:a16="http://schemas.microsoft.com/office/drawing/2014/main" id="{8E477DAE-CB4A-4B5D-9AE9-D4B8B8D520BB}"/>
              </a:ext>
            </a:extLst>
          </p:cNvPr>
          <p:cNvSpPr/>
          <p:nvPr/>
        </p:nvSpPr>
        <p:spPr>
          <a:xfrm rot="3345398">
            <a:off x="6438914" y="2291239"/>
            <a:ext cx="1332096"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terest Groups</a:t>
            </a:r>
          </a:p>
        </p:txBody>
      </p:sp>
      <p:sp>
        <p:nvSpPr>
          <p:cNvPr id="15" name="Rectangle 14">
            <a:extLst>
              <a:ext uri="{FF2B5EF4-FFF2-40B4-BE49-F238E27FC236}">
                <a16:creationId xmlns:a16="http://schemas.microsoft.com/office/drawing/2014/main" id="{F4D07F72-E4F6-404D-BEEB-B1D9F58D5192}"/>
              </a:ext>
            </a:extLst>
          </p:cNvPr>
          <p:cNvSpPr/>
          <p:nvPr/>
        </p:nvSpPr>
        <p:spPr>
          <a:xfrm rot="1831486">
            <a:off x="7951172" y="795657"/>
            <a:ext cx="844783"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nicians</a:t>
            </a:r>
          </a:p>
        </p:txBody>
      </p:sp>
      <p:sp>
        <p:nvSpPr>
          <p:cNvPr id="16" name="Rectangle 15">
            <a:extLst>
              <a:ext uri="{FF2B5EF4-FFF2-40B4-BE49-F238E27FC236}">
                <a16:creationId xmlns:a16="http://schemas.microsoft.com/office/drawing/2014/main" id="{1EE6B4EF-8AC9-4164-B959-A53BB5B88838}"/>
              </a:ext>
            </a:extLst>
          </p:cNvPr>
          <p:cNvSpPr/>
          <p:nvPr/>
        </p:nvSpPr>
        <p:spPr>
          <a:xfrm rot="2228279">
            <a:off x="7369919" y="1254378"/>
            <a:ext cx="1391408" cy="477054"/>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ional Clin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udit teams</a:t>
            </a:r>
          </a:p>
        </p:txBody>
      </p:sp>
      <p:sp>
        <p:nvSpPr>
          <p:cNvPr id="17" name="Rectangle 16">
            <a:extLst>
              <a:ext uri="{FF2B5EF4-FFF2-40B4-BE49-F238E27FC236}">
                <a16:creationId xmlns:a16="http://schemas.microsoft.com/office/drawing/2014/main" id="{D8F20FB8-A7C9-42D7-8E5D-87D535AC40FD}"/>
              </a:ext>
            </a:extLst>
          </p:cNvPr>
          <p:cNvSpPr/>
          <p:nvPr/>
        </p:nvSpPr>
        <p:spPr>
          <a:xfrm rot="3068701">
            <a:off x="7568424" y="2267006"/>
            <a:ext cx="596318"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ta/IT</a:t>
            </a:r>
          </a:p>
        </p:txBody>
      </p:sp>
      <p:sp>
        <p:nvSpPr>
          <p:cNvPr id="18" name="Rectangle 17">
            <a:extLst>
              <a:ext uri="{FF2B5EF4-FFF2-40B4-BE49-F238E27FC236}">
                <a16:creationId xmlns:a16="http://schemas.microsoft.com/office/drawing/2014/main" id="{812EB635-5BC2-412D-9A8A-B27DF15D2DAB}"/>
              </a:ext>
            </a:extLst>
          </p:cNvPr>
          <p:cNvSpPr/>
          <p:nvPr/>
        </p:nvSpPr>
        <p:spPr>
          <a:xfrm rot="1596608">
            <a:off x="8365441" y="352482"/>
            <a:ext cx="934551" cy="261610"/>
          </a:xfrm>
          <a:prstGeom prst="rect">
            <a:avLst/>
          </a:prstGeom>
        </p:spPr>
        <p:txBody>
          <a:bodyPr wrap="none" lIns="0" t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ulators</a:t>
            </a:r>
          </a:p>
        </p:txBody>
      </p:sp>
      <p:sp>
        <p:nvSpPr>
          <p:cNvPr id="19" name="Hexagon 18">
            <a:extLst>
              <a:ext uri="{FF2B5EF4-FFF2-40B4-BE49-F238E27FC236}">
                <a16:creationId xmlns:a16="http://schemas.microsoft.com/office/drawing/2014/main" id="{500938C0-E53A-4D70-9D69-945CB7D55599}"/>
              </a:ext>
            </a:extLst>
          </p:cNvPr>
          <p:cNvSpPr/>
          <p:nvPr/>
        </p:nvSpPr>
        <p:spPr>
          <a:xfrm>
            <a:off x="-28662" y="239557"/>
            <a:ext cx="1260468" cy="10866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rers</a:t>
            </a:r>
          </a:p>
        </p:txBody>
      </p:sp>
      <p:sp>
        <p:nvSpPr>
          <p:cNvPr id="20" name="Hexagon 19">
            <a:extLst>
              <a:ext uri="{FF2B5EF4-FFF2-40B4-BE49-F238E27FC236}">
                <a16:creationId xmlns:a16="http://schemas.microsoft.com/office/drawing/2014/main" id="{138A61B4-07C5-4DA0-B23E-56A443C1EB83}"/>
              </a:ext>
            </a:extLst>
          </p:cNvPr>
          <p:cNvSpPr/>
          <p:nvPr/>
        </p:nvSpPr>
        <p:spPr>
          <a:xfrm>
            <a:off x="812146" y="874607"/>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Liv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r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ams</a:t>
            </a:r>
          </a:p>
        </p:txBody>
      </p:sp>
      <p:sp>
        <p:nvSpPr>
          <p:cNvPr id="21" name="Hexagon 20">
            <a:extLst>
              <a:ext uri="{FF2B5EF4-FFF2-40B4-BE49-F238E27FC236}">
                <a16:creationId xmlns:a16="http://schemas.microsoft.com/office/drawing/2014/main" id="{60F4439C-F45F-48CF-9B73-0A27B54C599B}"/>
              </a:ext>
            </a:extLst>
          </p:cNvPr>
          <p:cNvSpPr/>
          <p:nvPr/>
        </p:nvSpPr>
        <p:spPr>
          <a:xfrm>
            <a:off x="-169278" y="1288993"/>
            <a:ext cx="1260468" cy="10866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rvices</a:t>
            </a:r>
          </a:p>
        </p:txBody>
      </p:sp>
      <p:cxnSp>
        <p:nvCxnSpPr>
          <p:cNvPr id="22" name="Straight Connector 21">
            <a:extLst>
              <a:ext uri="{FF2B5EF4-FFF2-40B4-BE49-F238E27FC236}">
                <a16:creationId xmlns:a16="http://schemas.microsoft.com/office/drawing/2014/main" id="{6B36E3CC-AD78-4C6A-BBFD-AB6D4973DC7E}"/>
              </a:ext>
            </a:extLst>
          </p:cNvPr>
          <p:cNvCxnSpPr>
            <a:cxnSpLocks/>
          </p:cNvCxnSpPr>
          <p:nvPr/>
        </p:nvCxnSpPr>
        <p:spPr>
          <a:xfrm flipV="1">
            <a:off x="46591" y="1171528"/>
            <a:ext cx="5186984" cy="3922283"/>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6" name="Hexagon 25">
            <a:extLst>
              <a:ext uri="{FF2B5EF4-FFF2-40B4-BE49-F238E27FC236}">
                <a16:creationId xmlns:a16="http://schemas.microsoft.com/office/drawing/2014/main" id="{C36F9E24-84E9-4A72-BE23-FE600D7E6650}"/>
              </a:ext>
            </a:extLst>
          </p:cNvPr>
          <p:cNvSpPr/>
          <p:nvPr/>
        </p:nvSpPr>
        <p:spPr>
          <a:xfrm>
            <a:off x="-51497" y="2535184"/>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ICE</a:t>
            </a:r>
          </a:p>
        </p:txBody>
      </p:sp>
      <p:sp>
        <p:nvSpPr>
          <p:cNvPr id="27" name="Hexagon 26">
            <a:extLst>
              <a:ext uri="{FF2B5EF4-FFF2-40B4-BE49-F238E27FC236}">
                <a16:creationId xmlns:a16="http://schemas.microsoft.com/office/drawing/2014/main" id="{7A647ED1-2ABA-41DD-B87D-E62D9A0D6A32}"/>
              </a:ext>
            </a:extLst>
          </p:cNvPr>
          <p:cNvSpPr/>
          <p:nvPr/>
        </p:nvSpPr>
        <p:spPr>
          <a:xfrm>
            <a:off x="1725657" y="2186034"/>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EE</a:t>
            </a:r>
          </a:p>
        </p:txBody>
      </p:sp>
      <p:sp>
        <p:nvSpPr>
          <p:cNvPr id="28" name="Hexagon 27">
            <a:extLst>
              <a:ext uri="{FF2B5EF4-FFF2-40B4-BE49-F238E27FC236}">
                <a16:creationId xmlns:a16="http://schemas.microsoft.com/office/drawing/2014/main" id="{594CBE82-355F-4306-AE53-AD6AD3758E4C}"/>
              </a:ext>
            </a:extLst>
          </p:cNvPr>
          <p:cNvSpPr/>
          <p:nvPr/>
        </p:nvSpPr>
        <p:spPr>
          <a:xfrm>
            <a:off x="20454" y="347881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CEPOD</a:t>
            </a:r>
          </a:p>
        </p:txBody>
      </p:sp>
      <p:sp>
        <p:nvSpPr>
          <p:cNvPr id="25" name="Hexagon 24">
            <a:extLst>
              <a:ext uri="{FF2B5EF4-FFF2-40B4-BE49-F238E27FC236}">
                <a16:creationId xmlns:a16="http://schemas.microsoft.com/office/drawing/2014/main" id="{42DBD301-8D94-4166-BEFF-B20A60AA3274}"/>
              </a:ext>
            </a:extLst>
          </p:cNvPr>
          <p:cNvSpPr/>
          <p:nvPr/>
        </p:nvSpPr>
        <p:spPr>
          <a:xfrm>
            <a:off x="858249" y="198281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HSE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rans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e</a:t>
            </a:r>
          </a:p>
        </p:txBody>
      </p:sp>
      <p:cxnSp>
        <p:nvCxnSpPr>
          <p:cNvPr id="29" name="Straight Connector 28">
            <a:extLst>
              <a:ext uri="{FF2B5EF4-FFF2-40B4-BE49-F238E27FC236}">
                <a16:creationId xmlns:a16="http://schemas.microsoft.com/office/drawing/2014/main" id="{73A077CB-3F39-43FD-821A-833A0AF17D3E}"/>
              </a:ext>
            </a:extLst>
          </p:cNvPr>
          <p:cNvCxnSpPr>
            <a:cxnSpLocks/>
          </p:cNvCxnSpPr>
          <p:nvPr/>
        </p:nvCxnSpPr>
        <p:spPr>
          <a:xfrm flipV="1">
            <a:off x="46591" y="1339988"/>
            <a:ext cx="5465237" cy="557992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C82FB956-3D97-4B26-AF1B-70396B7CA92F}"/>
              </a:ext>
            </a:extLst>
          </p:cNvPr>
          <p:cNvSpPr/>
          <p:nvPr/>
        </p:nvSpPr>
        <p:spPr>
          <a:xfrm>
            <a:off x="2295409" y="2929418"/>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rategi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etworks</a:t>
            </a:r>
          </a:p>
        </p:txBody>
      </p:sp>
      <p:sp>
        <p:nvSpPr>
          <p:cNvPr id="32" name="Hexagon 31">
            <a:extLst>
              <a:ext uri="{FF2B5EF4-FFF2-40B4-BE49-F238E27FC236}">
                <a16:creationId xmlns:a16="http://schemas.microsoft.com/office/drawing/2014/main" id="{3A150E44-7E22-4514-B957-6278AAC243BC}"/>
              </a:ext>
            </a:extLst>
          </p:cNvPr>
          <p:cNvSpPr/>
          <p:nvPr/>
        </p:nvSpPr>
        <p:spPr>
          <a:xfrm>
            <a:off x="1501455" y="3561446"/>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nc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lliances</a:t>
            </a:r>
          </a:p>
        </p:txBody>
      </p:sp>
      <p:sp>
        <p:nvSpPr>
          <p:cNvPr id="33" name="Hexagon 32">
            <a:extLst>
              <a:ext uri="{FF2B5EF4-FFF2-40B4-BE49-F238E27FC236}">
                <a16:creationId xmlns:a16="http://schemas.microsoft.com/office/drawing/2014/main" id="{FD553987-2956-4369-B56F-38545420CEC6}"/>
              </a:ext>
            </a:extLst>
          </p:cNvPr>
          <p:cNvSpPr/>
          <p:nvPr/>
        </p:nvSpPr>
        <p:spPr>
          <a:xfrm>
            <a:off x="756095" y="425852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RCs</a:t>
            </a:r>
          </a:p>
        </p:txBody>
      </p:sp>
      <p:sp>
        <p:nvSpPr>
          <p:cNvPr id="34" name="Hexagon 33">
            <a:extLst>
              <a:ext uri="{FF2B5EF4-FFF2-40B4-BE49-F238E27FC236}">
                <a16:creationId xmlns:a16="http://schemas.microsoft.com/office/drawing/2014/main" id="{CE111457-F5EA-47FD-9575-7F05672396C5}"/>
              </a:ext>
            </a:extLst>
          </p:cNvPr>
          <p:cNvSpPr/>
          <p:nvPr/>
        </p:nvSpPr>
        <p:spPr>
          <a:xfrm>
            <a:off x="-23983" y="5010708"/>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HSNs</a:t>
            </a:r>
          </a:p>
        </p:txBody>
      </p:sp>
      <p:cxnSp>
        <p:nvCxnSpPr>
          <p:cNvPr id="35" name="Straight Connector 34">
            <a:extLst>
              <a:ext uri="{FF2B5EF4-FFF2-40B4-BE49-F238E27FC236}">
                <a16:creationId xmlns:a16="http://schemas.microsoft.com/office/drawing/2014/main" id="{4C4AFEB1-7163-47B9-8433-7258B6862CA6}"/>
              </a:ext>
            </a:extLst>
          </p:cNvPr>
          <p:cNvCxnSpPr>
            <a:cxnSpLocks/>
          </p:cNvCxnSpPr>
          <p:nvPr/>
        </p:nvCxnSpPr>
        <p:spPr>
          <a:xfrm flipV="1">
            <a:off x="4682159" y="1259343"/>
            <a:ext cx="1367940" cy="5660565"/>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3FA88CE-2682-47FE-ABB1-CD5993BB4256}"/>
              </a:ext>
            </a:extLst>
          </p:cNvPr>
          <p:cNvCxnSpPr>
            <a:cxnSpLocks/>
          </p:cNvCxnSpPr>
          <p:nvPr/>
        </p:nvCxnSpPr>
        <p:spPr>
          <a:xfrm flipH="1" flipV="1">
            <a:off x="6323180" y="1257766"/>
            <a:ext cx="2303135" cy="5615273"/>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3" name="Hexagon 42">
            <a:extLst>
              <a:ext uri="{FF2B5EF4-FFF2-40B4-BE49-F238E27FC236}">
                <a16:creationId xmlns:a16="http://schemas.microsoft.com/office/drawing/2014/main" id="{C6149603-9DC5-4401-9F6B-63CED7A98183}"/>
              </a:ext>
            </a:extLst>
          </p:cNvPr>
          <p:cNvSpPr/>
          <p:nvPr/>
        </p:nvSpPr>
        <p:spPr>
          <a:xfrm>
            <a:off x="3762082" y="3282666"/>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Care</a:t>
            </a:r>
          </a:p>
        </p:txBody>
      </p:sp>
      <p:sp>
        <p:nvSpPr>
          <p:cNvPr id="44" name="Hexagon 43">
            <a:extLst>
              <a:ext uri="{FF2B5EF4-FFF2-40B4-BE49-F238E27FC236}">
                <a16:creationId xmlns:a16="http://schemas.microsoft.com/office/drawing/2014/main" id="{4102A5B5-6B3F-4BFD-98F0-F3F7A607CE0F}"/>
              </a:ext>
            </a:extLst>
          </p:cNvPr>
          <p:cNvSpPr/>
          <p:nvPr/>
        </p:nvSpPr>
        <p:spPr>
          <a:xfrm>
            <a:off x="2910605" y="3770534"/>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Ps</a:t>
            </a:r>
          </a:p>
        </p:txBody>
      </p:sp>
      <p:sp>
        <p:nvSpPr>
          <p:cNvPr id="45" name="Hexagon 44">
            <a:extLst>
              <a:ext uri="{FF2B5EF4-FFF2-40B4-BE49-F238E27FC236}">
                <a16:creationId xmlns:a16="http://schemas.microsoft.com/office/drawing/2014/main" id="{130133BE-6AEE-413A-97F2-0A40C6E17202}"/>
              </a:ext>
            </a:extLst>
          </p:cNvPr>
          <p:cNvSpPr/>
          <p:nvPr/>
        </p:nvSpPr>
        <p:spPr>
          <a:xfrm>
            <a:off x="4135400" y="3927885"/>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rusts</a:t>
            </a:r>
          </a:p>
        </p:txBody>
      </p:sp>
      <p:sp>
        <p:nvSpPr>
          <p:cNvPr id="46" name="Hexagon 45">
            <a:extLst>
              <a:ext uri="{FF2B5EF4-FFF2-40B4-BE49-F238E27FC236}">
                <a16:creationId xmlns:a16="http://schemas.microsoft.com/office/drawing/2014/main" id="{BF0C7D99-42BB-4B7B-9725-0CFBD87ECA9B}"/>
              </a:ext>
            </a:extLst>
          </p:cNvPr>
          <p:cNvSpPr/>
          <p:nvPr/>
        </p:nvSpPr>
        <p:spPr>
          <a:xfrm>
            <a:off x="2140220" y="442690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rust Boards</a:t>
            </a:r>
          </a:p>
        </p:txBody>
      </p:sp>
      <p:sp>
        <p:nvSpPr>
          <p:cNvPr id="47" name="Hexagon 46">
            <a:extLst>
              <a:ext uri="{FF2B5EF4-FFF2-40B4-BE49-F238E27FC236}">
                <a16:creationId xmlns:a16="http://schemas.microsoft.com/office/drawing/2014/main" id="{709C95B7-78C7-4E7D-8D2F-41B1B35638A6}"/>
              </a:ext>
            </a:extLst>
          </p:cNvPr>
          <p:cNvSpPr/>
          <p:nvPr/>
        </p:nvSpPr>
        <p:spPr>
          <a:xfrm>
            <a:off x="3143677" y="4536306"/>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ea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f Nursing</a:t>
            </a:r>
          </a:p>
        </p:txBody>
      </p:sp>
      <p:sp>
        <p:nvSpPr>
          <p:cNvPr id="48" name="Hexagon 47">
            <a:extLst>
              <a:ext uri="{FF2B5EF4-FFF2-40B4-BE49-F238E27FC236}">
                <a16:creationId xmlns:a16="http://schemas.microsoft.com/office/drawing/2014/main" id="{6646B0DF-220F-44A9-AF00-91FD3C430D88}"/>
              </a:ext>
            </a:extLst>
          </p:cNvPr>
          <p:cNvSpPr/>
          <p:nvPr/>
        </p:nvSpPr>
        <p:spPr>
          <a:xfrm>
            <a:off x="1360715" y="511554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ront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f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ursing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HPs</a:t>
            </a:r>
          </a:p>
        </p:txBody>
      </p:sp>
      <p:sp>
        <p:nvSpPr>
          <p:cNvPr id="49" name="Hexagon 48">
            <a:extLst>
              <a:ext uri="{FF2B5EF4-FFF2-40B4-BE49-F238E27FC236}">
                <a16:creationId xmlns:a16="http://schemas.microsoft.com/office/drawing/2014/main" id="{E6BC8FB4-4C52-476D-B25C-43C285EA7749}"/>
              </a:ext>
            </a:extLst>
          </p:cNvPr>
          <p:cNvSpPr/>
          <p:nvPr/>
        </p:nvSpPr>
        <p:spPr>
          <a:xfrm>
            <a:off x="2454320" y="5269878"/>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mprov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erform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ams</a:t>
            </a:r>
          </a:p>
        </p:txBody>
      </p:sp>
      <p:sp>
        <p:nvSpPr>
          <p:cNvPr id="50" name="Hexagon 49">
            <a:extLst>
              <a:ext uri="{FF2B5EF4-FFF2-40B4-BE49-F238E27FC236}">
                <a16:creationId xmlns:a16="http://schemas.microsoft.com/office/drawing/2014/main" id="{F517E0B5-7B6E-42D5-B524-7E6FA28B72AF}"/>
              </a:ext>
            </a:extLst>
          </p:cNvPr>
          <p:cNvSpPr/>
          <p:nvPr/>
        </p:nvSpPr>
        <p:spPr>
          <a:xfrm>
            <a:off x="775551" y="5956905"/>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er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ams</a:t>
            </a:r>
          </a:p>
        </p:txBody>
      </p:sp>
      <p:sp>
        <p:nvSpPr>
          <p:cNvPr id="51" name="Hexagon 50">
            <a:extLst>
              <a:ext uri="{FF2B5EF4-FFF2-40B4-BE49-F238E27FC236}">
                <a16:creationId xmlns:a16="http://schemas.microsoft.com/office/drawing/2014/main" id="{6B32BC56-378B-4695-A5FF-D78F1B47E64C}"/>
              </a:ext>
            </a:extLst>
          </p:cNvPr>
          <p:cNvSpPr/>
          <p:nvPr/>
        </p:nvSpPr>
        <p:spPr>
          <a:xfrm>
            <a:off x="1870739" y="6032037"/>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udit staff</a:t>
            </a:r>
          </a:p>
        </p:txBody>
      </p:sp>
      <p:sp>
        <p:nvSpPr>
          <p:cNvPr id="52" name="Hexagon 51">
            <a:extLst>
              <a:ext uri="{FF2B5EF4-FFF2-40B4-BE49-F238E27FC236}">
                <a16:creationId xmlns:a16="http://schemas.microsoft.com/office/drawing/2014/main" id="{8A6DAD91-B149-4062-ABF7-4847DD64DDFF}"/>
              </a:ext>
            </a:extLst>
          </p:cNvPr>
          <p:cNvSpPr/>
          <p:nvPr/>
        </p:nvSpPr>
        <p:spPr>
          <a:xfrm>
            <a:off x="2914442" y="606110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inance</a:t>
            </a:r>
          </a:p>
        </p:txBody>
      </p:sp>
      <p:sp>
        <p:nvSpPr>
          <p:cNvPr id="54" name="Hexagon 53">
            <a:extLst>
              <a:ext uri="{FF2B5EF4-FFF2-40B4-BE49-F238E27FC236}">
                <a16:creationId xmlns:a16="http://schemas.microsoft.com/office/drawing/2014/main" id="{3F21F676-E7C0-46CA-A922-D0A85876A8A7}"/>
              </a:ext>
            </a:extLst>
          </p:cNvPr>
          <p:cNvSpPr/>
          <p:nvPr/>
        </p:nvSpPr>
        <p:spPr>
          <a:xfrm>
            <a:off x="3562112" y="539073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versity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clusion</a:t>
            </a:r>
          </a:p>
        </p:txBody>
      </p:sp>
      <p:sp>
        <p:nvSpPr>
          <p:cNvPr id="55" name="Hexagon 54">
            <a:extLst>
              <a:ext uri="{FF2B5EF4-FFF2-40B4-BE49-F238E27FC236}">
                <a16:creationId xmlns:a16="http://schemas.microsoft.com/office/drawing/2014/main" id="{75EBEB78-4AD1-46B4-8AC1-54C06F59C5BB}"/>
              </a:ext>
            </a:extLst>
          </p:cNvPr>
          <p:cNvSpPr/>
          <p:nvPr/>
        </p:nvSpPr>
        <p:spPr>
          <a:xfrm>
            <a:off x="4044909" y="482986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R</a:t>
            </a:r>
          </a:p>
        </p:txBody>
      </p:sp>
      <p:sp>
        <p:nvSpPr>
          <p:cNvPr id="56" name="Hexagon 55">
            <a:extLst>
              <a:ext uri="{FF2B5EF4-FFF2-40B4-BE49-F238E27FC236}">
                <a16:creationId xmlns:a16="http://schemas.microsoft.com/office/drawing/2014/main" id="{5FC95837-3940-450A-80A3-C096C131719F}"/>
              </a:ext>
            </a:extLst>
          </p:cNvPr>
          <p:cNvSpPr/>
          <p:nvPr/>
        </p:nvSpPr>
        <p:spPr>
          <a:xfrm>
            <a:off x="5850472" y="336320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CSs</a:t>
            </a:r>
          </a:p>
        </p:txBody>
      </p:sp>
      <p:sp>
        <p:nvSpPr>
          <p:cNvPr id="58" name="Hexagon 57">
            <a:extLst>
              <a:ext uri="{FF2B5EF4-FFF2-40B4-BE49-F238E27FC236}">
                <a16:creationId xmlns:a16="http://schemas.microsoft.com/office/drawing/2014/main" id="{AE3C309D-DFF2-4AFB-B984-6CE04ADADAE2}"/>
              </a:ext>
            </a:extLst>
          </p:cNvPr>
          <p:cNvSpPr/>
          <p:nvPr/>
        </p:nvSpPr>
        <p:spPr>
          <a:xfrm>
            <a:off x="6898155" y="5110295"/>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CGs</a:t>
            </a:r>
          </a:p>
        </p:txBody>
      </p:sp>
      <p:sp>
        <p:nvSpPr>
          <p:cNvPr id="59" name="Hexagon 58">
            <a:extLst>
              <a:ext uri="{FF2B5EF4-FFF2-40B4-BE49-F238E27FC236}">
                <a16:creationId xmlns:a16="http://schemas.microsoft.com/office/drawing/2014/main" id="{452C01ED-CBBC-4B98-A553-13C7819F6C5E}"/>
              </a:ext>
            </a:extLst>
          </p:cNvPr>
          <p:cNvSpPr/>
          <p:nvPr/>
        </p:nvSpPr>
        <p:spPr>
          <a:xfrm>
            <a:off x="5342041" y="4187867"/>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ie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ecutives</a:t>
            </a:r>
          </a:p>
        </p:txBody>
      </p:sp>
      <p:sp>
        <p:nvSpPr>
          <p:cNvPr id="60" name="Hexagon 59">
            <a:extLst>
              <a:ext uri="{FF2B5EF4-FFF2-40B4-BE49-F238E27FC236}">
                <a16:creationId xmlns:a16="http://schemas.microsoft.com/office/drawing/2014/main" id="{0EF43435-7362-480C-A293-92442FC106BE}"/>
              </a:ext>
            </a:extLst>
          </p:cNvPr>
          <p:cNvSpPr/>
          <p:nvPr/>
        </p:nvSpPr>
        <p:spPr>
          <a:xfrm>
            <a:off x="6460509" y="4090115"/>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MO</a:t>
            </a:r>
          </a:p>
        </p:txBody>
      </p:sp>
      <p:sp>
        <p:nvSpPr>
          <p:cNvPr id="61" name="Hexagon 60">
            <a:extLst>
              <a:ext uri="{FF2B5EF4-FFF2-40B4-BE49-F238E27FC236}">
                <a16:creationId xmlns:a16="http://schemas.microsoft.com/office/drawing/2014/main" id="{E9946682-A1A8-4791-86EE-92E28650D863}"/>
              </a:ext>
            </a:extLst>
          </p:cNvPr>
          <p:cNvSpPr/>
          <p:nvPr/>
        </p:nvSpPr>
        <p:spPr>
          <a:xfrm>
            <a:off x="6837456" y="5975267"/>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eads</a:t>
            </a:r>
          </a:p>
        </p:txBody>
      </p:sp>
      <p:sp>
        <p:nvSpPr>
          <p:cNvPr id="62" name="Hexagon 61">
            <a:extLst>
              <a:ext uri="{FF2B5EF4-FFF2-40B4-BE49-F238E27FC236}">
                <a16:creationId xmlns:a16="http://schemas.microsoft.com/office/drawing/2014/main" id="{09242CD1-5DEE-40A4-B1AC-AA78DE8A567C}"/>
              </a:ext>
            </a:extLst>
          </p:cNvPr>
          <p:cNvSpPr/>
          <p:nvPr/>
        </p:nvSpPr>
        <p:spPr>
          <a:xfrm>
            <a:off x="5060171" y="5110296"/>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mprov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ubs</a:t>
            </a:r>
          </a:p>
        </p:txBody>
      </p:sp>
      <p:sp>
        <p:nvSpPr>
          <p:cNvPr id="63" name="Hexagon 62">
            <a:extLst>
              <a:ext uri="{FF2B5EF4-FFF2-40B4-BE49-F238E27FC236}">
                <a16:creationId xmlns:a16="http://schemas.microsoft.com/office/drawing/2014/main" id="{FFA2FF4B-D2D9-46AC-8C66-0A75E277D018}"/>
              </a:ext>
            </a:extLst>
          </p:cNvPr>
          <p:cNvSpPr/>
          <p:nvPr/>
        </p:nvSpPr>
        <p:spPr>
          <a:xfrm>
            <a:off x="6034990" y="4833277"/>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formance</a:t>
            </a:r>
          </a:p>
        </p:txBody>
      </p:sp>
      <p:sp>
        <p:nvSpPr>
          <p:cNvPr id="64" name="Hexagon 63">
            <a:extLst>
              <a:ext uri="{FF2B5EF4-FFF2-40B4-BE49-F238E27FC236}">
                <a16:creationId xmlns:a16="http://schemas.microsoft.com/office/drawing/2014/main" id="{F19616B4-6343-400A-9F7A-53DBB51E179F}"/>
              </a:ext>
            </a:extLst>
          </p:cNvPr>
          <p:cNvSpPr/>
          <p:nvPr/>
        </p:nvSpPr>
        <p:spPr>
          <a:xfrm>
            <a:off x="4917299" y="598688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inance</a:t>
            </a:r>
          </a:p>
        </p:txBody>
      </p:sp>
      <p:sp>
        <p:nvSpPr>
          <p:cNvPr id="65" name="Hexagon 64">
            <a:extLst>
              <a:ext uri="{FF2B5EF4-FFF2-40B4-BE49-F238E27FC236}">
                <a16:creationId xmlns:a16="http://schemas.microsoft.com/office/drawing/2014/main" id="{60C3F94D-361E-47D0-890F-3FCD40EA409F}"/>
              </a:ext>
            </a:extLst>
          </p:cNvPr>
          <p:cNvSpPr/>
          <p:nvPr/>
        </p:nvSpPr>
        <p:spPr>
          <a:xfrm>
            <a:off x="5789909" y="5734971"/>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R</a:t>
            </a:r>
          </a:p>
        </p:txBody>
      </p:sp>
      <p:cxnSp>
        <p:nvCxnSpPr>
          <p:cNvPr id="67" name="Straight Connector 66">
            <a:extLst>
              <a:ext uri="{FF2B5EF4-FFF2-40B4-BE49-F238E27FC236}">
                <a16:creationId xmlns:a16="http://schemas.microsoft.com/office/drawing/2014/main" id="{9C77B78A-2416-4C29-8E85-B52030632DB7}"/>
              </a:ext>
            </a:extLst>
          </p:cNvPr>
          <p:cNvCxnSpPr>
            <a:cxnSpLocks/>
          </p:cNvCxnSpPr>
          <p:nvPr/>
        </p:nvCxnSpPr>
        <p:spPr>
          <a:xfrm flipH="1" flipV="1">
            <a:off x="6864402" y="1212461"/>
            <a:ext cx="3824595" cy="5660578"/>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0" name="Hexagon 69">
            <a:extLst>
              <a:ext uri="{FF2B5EF4-FFF2-40B4-BE49-F238E27FC236}">
                <a16:creationId xmlns:a16="http://schemas.microsoft.com/office/drawing/2014/main" id="{968C618D-4A88-48FF-ADEB-EADDA8D117A5}"/>
              </a:ext>
            </a:extLst>
          </p:cNvPr>
          <p:cNvSpPr/>
          <p:nvPr/>
        </p:nvSpPr>
        <p:spPr>
          <a:xfrm>
            <a:off x="7331473" y="3348569"/>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oy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lleges</a:t>
            </a:r>
          </a:p>
        </p:txBody>
      </p:sp>
      <p:sp>
        <p:nvSpPr>
          <p:cNvPr id="71" name="Hexagon 70">
            <a:extLst>
              <a:ext uri="{FF2B5EF4-FFF2-40B4-BE49-F238E27FC236}">
                <a16:creationId xmlns:a16="http://schemas.microsoft.com/office/drawing/2014/main" id="{5C49AB12-63CE-4B27-86A3-31D96C3AD6F1}"/>
              </a:ext>
            </a:extLst>
          </p:cNvPr>
          <p:cNvSpPr/>
          <p:nvPr/>
        </p:nvSpPr>
        <p:spPr>
          <a:xfrm>
            <a:off x="7886522" y="420338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oMRC</a:t>
            </a:r>
          </a:p>
        </p:txBody>
      </p:sp>
      <p:sp>
        <p:nvSpPr>
          <p:cNvPr id="72" name="Hexagon 71">
            <a:extLst>
              <a:ext uri="{FF2B5EF4-FFF2-40B4-BE49-F238E27FC236}">
                <a16:creationId xmlns:a16="http://schemas.microsoft.com/office/drawing/2014/main" id="{47395F2E-371A-44AD-A77C-BB1914E89970}"/>
              </a:ext>
            </a:extLst>
          </p:cNvPr>
          <p:cNvSpPr/>
          <p:nvPr/>
        </p:nvSpPr>
        <p:spPr>
          <a:xfrm>
            <a:off x="8388786" y="5085654"/>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fess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odi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MC, RC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tc.)</a:t>
            </a:r>
          </a:p>
        </p:txBody>
      </p:sp>
      <p:sp>
        <p:nvSpPr>
          <p:cNvPr id="73" name="Hexagon 72">
            <a:extLst>
              <a:ext uri="{FF2B5EF4-FFF2-40B4-BE49-F238E27FC236}">
                <a16:creationId xmlns:a16="http://schemas.microsoft.com/office/drawing/2014/main" id="{E09B2D7C-4454-4FDB-B65B-CF760A373348}"/>
              </a:ext>
            </a:extLst>
          </p:cNvPr>
          <p:cNvSpPr/>
          <p:nvPr/>
        </p:nvSpPr>
        <p:spPr>
          <a:xfrm>
            <a:off x="9067022" y="5899397"/>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merci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rganisations</a:t>
            </a:r>
          </a:p>
        </p:txBody>
      </p:sp>
      <p:cxnSp>
        <p:nvCxnSpPr>
          <p:cNvPr id="74" name="Straight Connector 73">
            <a:extLst>
              <a:ext uri="{FF2B5EF4-FFF2-40B4-BE49-F238E27FC236}">
                <a16:creationId xmlns:a16="http://schemas.microsoft.com/office/drawing/2014/main" id="{C68532C0-576E-471B-AAF5-57FA963DE8D2}"/>
              </a:ext>
            </a:extLst>
          </p:cNvPr>
          <p:cNvCxnSpPr>
            <a:cxnSpLocks/>
          </p:cNvCxnSpPr>
          <p:nvPr/>
        </p:nvCxnSpPr>
        <p:spPr>
          <a:xfrm flipH="1" flipV="1">
            <a:off x="7028791" y="994290"/>
            <a:ext cx="5193901" cy="4859498"/>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7" name="Hexagon 76">
            <a:extLst>
              <a:ext uri="{FF2B5EF4-FFF2-40B4-BE49-F238E27FC236}">
                <a16:creationId xmlns:a16="http://schemas.microsoft.com/office/drawing/2014/main" id="{997FE5C7-C1E9-48E8-BB40-0B8C2BA7C8CA}"/>
              </a:ext>
            </a:extLst>
          </p:cNvPr>
          <p:cNvSpPr/>
          <p:nvPr/>
        </p:nvSpPr>
        <p:spPr>
          <a:xfrm>
            <a:off x="8199046" y="2806249"/>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ightCare</a:t>
            </a:r>
          </a:p>
        </p:txBody>
      </p:sp>
      <p:sp>
        <p:nvSpPr>
          <p:cNvPr id="78" name="Hexagon 77">
            <a:extLst>
              <a:ext uri="{FF2B5EF4-FFF2-40B4-BE49-F238E27FC236}">
                <a16:creationId xmlns:a16="http://schemas.microsoft.com/office/drawing/2014/main" id="{5D702A27-3275-4E2C-A177-C85FD2A70ACB}"/>
              </a:ext>
            </a:extLst>
          </p:cNvPr>
          <p:cNvSpPr/>
          <p:nvPr/>
        </p:nvSpPr>
        <p:spPr>
          <a:xfrm>
            <a:off x="8747855" y="341163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de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ospital</a:t>
            </a:r>
          </a:p>
        </p:txBody>
      </p:sp>
      <p:sp>
        <p:nvSpPr>
          <p:cNvPr id="79" name="Hexagon 78">
            <a:extLst>
              <a:ext uri="{FF2B5EF4-FFF2-40B4-BE49-F238E27FC236}">
                <a16:creationId xmlns:a16="http://schemas.microsoft.com/office/drawing/2014/main" id="{F6BADC05-54A5-480B-9D2C-C7226F04CE9B}"/>
              </a:ext>
            </a:extLst>
          </p:cNvPr>
          <p:cNvSpPr/>
          <p:nvPr/>
        </p:nvSpPr>
        <p:spPr>
          <a:xfrm>
            <a:off x="9403620" y="386036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IRFT</a:t>
            </a:r>
          </a:p>
        </p:txBody>
      </p:sp>
      <p:sp>
        <p:nvSpPr>
          <p:cNvPr id="80" name="Hexagon 79">
            <a:extLst>
              <a:ext uri="{FF2B5EF4-FFF2-40B4-BE49-F238E27FC236}">
                <a16:creationId xmlns:a16="http://schemas.microsoft.com/office/drawing/2014/main" id="{0849A736-6015-4984-8501-0A6D6D300132}"/>
              </a:ext>
            </a:extLst>
          </p:cNvPr>
          <p:cNvSpPr/>
          <p:nvPr/>
        </p:nvSpPr>
        <p:spPr>
          <a:xfrm>
            <a:off x="9932888" y="4460799"/>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ystem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di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pecif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alyt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ams</a:t>
            </a:r>
          </a:p>
        </p:txBody>
      </p:sp>
      <p:sp>
        <p:nvSpPr>
          <p:cNvPr id="82" name="Hexagon 81">
            <a:extLst>
              <a:ext uri="{FF2B5EF4-FFF2-40B4-BE49-F238E27FC236}">
                <a16:creationId xmlns:a16="http://schemas.microsoft.com/office/drawing/2014/main" id="{0B7102D6-E18B-4F83-A16E-02280DFB5359}"/>
              </a:ext>
            </a:extLst>
          </p:cNvPr>
          <p:cNvSpPr/>
          <p:nvPr/>
        </p:nvSpPr>
        <p:spPr>
          <a:xfrm>
            <a:off x="10537477" y="5196299"/>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nical  Aud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enchmarking</a:t>
            </a:r>
          </a:p>
        </p:txBody>
      </p:sp>
      <p:sp>
        <p:nvSpPr>
          <p:cNvPr id="83" name="Hexagon 82">
            <a:extLst>
              <a:ext uri="{FF2B5EF4-FFF2-40B4-BE49-F238E27FC236}">
                <a16:creationId xmlns:a16="http://schemas.microsoft.com/office/drawing/2014/main" id="{8A576010-69E3-4601-8C24-046980516059}"/>
              </a:ext>
            </a:extLst>
          </p:cNvPr>
          <p:cNvSpPr/>
          <p:nvPr/>
        </p:nvSpPr>
        <p:spPr>
          <a:xfrm>
            <a:off x="11102537" y="5986882"/>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technology</a:t>
            </a:r>
          </a:p>
        </p:txBody>
      </p:sp>
      <p:sp>
        <p:nvSpPr>
          <p:cNvPr id="84" name="Hexagon 83">
            <a:extLst>
              <a:ext uri="{FF2B5EF4-FFF2-40B4-BE49-F238E27FC236}">
                <a16:creationId xmlns:a16="http://schemas.microsoft.com/office/drawing/2014/main" id="{478F5A31-6834-495E-8CDE-E84B57B7786B}"/>
              </a:ext>
            </a:extLst>
          </p:cNvPr>
          <p:cNvSpPr/>
          <p:nvPr/>
        </p:nvSpPr>
        <p:spPr>
          <a:xfrm>
            <a:off x="8985734" y="2201455"/>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QIP</a:t>
            </a:r>
          </a:p>
        </p:txBody>
      </p:sp>
      <p:cxnSp>
        <p:nvCxnSpPr>
          <p:cNvPr id="85" name="Straight Connector 84">
            <a:extLst>
              <a:ext uri="{FF2B5EF4-FFF2-40B4-BE49-F238E27FC236}">
                <a16:creationId xmlns:a16="http://schemas.microsoft.com/office/drawing/2014/main" id="{25626850-2DD1-4FC9-B1FD-6758D6A6E90F}"/>
              </a:ext>
            </a:extLst>
          </p:cNvPr>
          <p:cNvCxnSpPr>
            <a:cxnSpLocks/>
          </p:cNvCxnSpPr>
          <p:nvPr/>
        </p:nvCxnSpPr>
        <p:spPr>
          <a:xfrm flipH="1" flipV="1">
            <a:off x="7315884" y="432037"/>
            <a:ext cx="4996095" cy="3625924"/>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E81D3B2-2649-4DFD-BC40-50FFACEDA97E}"/>
              </a:ext>
            </a:extLst>
          </p:cNvPr>
          <p:cNvCxnSpPr>
            <a:cxnSpLocks/>
          </p:cNvCxnSpPr>
          <p:nvPr/>
        </p:nvCxnSpPr>
        <p:spPr>
          <a:xfrm flipH="1" flipV="1">
            <a:off x="7577669" y="140752"/>
            <a:ext cx="4567740" cy="224592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91" name="Hexagon 90">
            <a:extLst>
              <a:ext uri="{FF2B5EF4-FFF2-40B4-BE49-F238E27FC236}">
                <a16:creationId xmlns:a16="http://schemas.microsoft.com/office/drawing/2014/main" id="{45990E2C-2C90-4F99-9A3C-421202139CE0}"/>
              </a:ext>
            </a:extLst>
          </p:cNvPr>
          <p:cNvSpPr/>
          <p:nvPr/>
        </p:nvSpPr>
        <p:spPr>
          <a:xfrm>
            <a:off x="9725261" y="2831993"/>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mprov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etwork</a:t>
            </a:r>
          </a:p>
        </p:txBody>
      </p:sp>
      <p:sp>
        <p:nvSpPr>
          <p:cNvPr id="92" name="Hexagon 91">
            <a:extLst>
              <a:ext uri="{FF2B5EF4-FFF2-40B4-BE49-F238E27FC236}">
                <a16:creationId xmlns:a16="http://schemas.microsoft.com/office/drawing/2014/main" id="{D90708D6-F52E-4489-84B0-EB8316617E7D}"/>
              </a:ext>
            </a:extLst>
          </p:cNvPr>
          <p:cNvSpPr/>
          <p:nvPr/>
        </p:nvSpPr>
        <p:spPr>
          <a:xfrm>
            <a:off x="10590843" y="3451641"/>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ud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entre</a:t>
            </a:r>
          </a:p>
        </p:txBody>
      </p:sp>
      <p:sp>
        <p:nvSpPr>
          <p:cNvPr id="93" name="Hexagon 92">
            <a:extLst>
              <a:ext uri="{FF2B5EF4-FFF2-40B4-BE49-F238E27FC236}">
                <a16:creationId xmlns:a16="http://schemas.microsoft.com/office/drawing/2014/main" id="{6D7D9566-76B6-4225-AA68-1923D839603F}"/>
              </a:ext>
            </a:extLst>
          </p:cNvPr>
          <p:cNvSpPr/>
          <p:nvPr/>
        </p:nvSpPr>
        <p:spPr>
          <a:xfrm>
            <a:off x="9201603" y="1212461"/>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CDs</a:t>
            </a:r>
          </a:p>
        </p:txBody>
      </p:sp>
      <p:sp>
        <p:nvSpPr>
          <p:cNvPr id="94" name="Hexagon 93">
            <a:extLst>
              <a:ext uri="{FF2B5EF4-FFF2-40B4-BE49-F238E27FC236}">
                <a16:creationId xmlns:a16="http://schemas.microsoft.com/office/drawing/2014/main" id="{3D630160-E562-439C-8EA6-9D13B6180227}"/>
              </a:ext>
            </a:extLst>
          </p:cNvPr>
          <p:cNvSpPr/>
          <p:nvPr/>
        </p:nvSpPr>
        <p:spPr>
          <a:xfrm>
            <a:off x="10119948" y="1778920"/>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nates</a:t>
            </a:r>
          </a:p>
        </p:txBody>
      </p:sp>
      <p:sp>
        <p:nvSpPr>
          <p:cNvPr id="95" name="Hexagon 94">
            <a:extLst>
              <a:ext uri="{FF2B5EF4-FFF2-40B4-BE49-F238E27FC236}">
                <a16:creationId xmlns:a16="http://schemas.microsoft.com/office/drawing/2014/main" id="{B3F02975-D6AB-4C8D-B375-994454B4A607}"/>
              </a:ext>
            </a:extLst>
          </p:cNvPr>
          <p:cNvSpPr/>
          <p:nvPr/>
        </p:nvSpPr>
        <p:spPr>
          <a:xfrm>
            <a:off x="11019854" y="2272641"/>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d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s</a:t>
            </a:r>
          </a:p>
        </p:txBody>
      </p:sp>
      <p:sp>
        <p:nvSpPr>
          <p:cNvPr id="96" name="Hexagon 95">
            <a:extLst>
              <a:ext uri="{FF2B5EF4-FFF2-40B4-BE49-F238E27FC236}">
                <a16:creationId xmlns:a16="http://schemas.microsoft.com/office/drawing/2014/main" id="{D00C0F11-1A8F-49D7-9835-E79E9D807A8C}"/>
              </a:ext>
            </a:extLst>
          </p:cNvPr>
          <p:cNvSpPr/>
          <p:nvPr/>
        </p:nvSpPr>
        <p:spPr>
          <a:xfrm>
            <a:off x="9700559" y="152345"/>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QC</a:t>
            </a:r>
          </a:p>
        </p:txBody>
      </p:sp>
      <p:sp>
        <p:nvSpPr>
          <p:cNvPr id="97" name="Hexagon 96">
            <a:extLst>
              <a:ext uri="{FF2B5EF4-FFF2-40B4-BE49-F238E27FC236}">
                <a16:creationId xmlns:a16="http://schemas.microsoft.com/office/drawing/2014/main" id="{BC6B279D-7509-45AB-BF18-4033AED21A87}"/>
              </a:ext>
            </a:extLst>
          </p:cNvPr>
          <p:cNvSpPr/>
          <p:nvPr/>
        </p:nvSpPr>
        <p:spPr>
          <a:xfrm>
            <a:off x="10388892" y="781271"/>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ldicot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uardians</a:t>
            </a:r>
          </a:p>
        </p:txBody>
      </p:sp>
      <p:sp>
        <p:nvSpPr>
          <p:cNvPr id="98" name="Hexagon 97">
            <a:extLst>
              <a:ext uri="{FF2B5EF4-FFF2-40B4-BE49-F238E27FC236}">
                <a16:creationId xmlns:a16="http://schemas.microsoft.com/office/drawing/2014/main" id="{46263E55-797D-4861-91DA-025A536E88C6}"/>
              </a:ext>
            </a:extLst>
          </p:cNvPr>
          <p:cNvSpPr/>
          <p:nvPr/>
        </p:nvSpPr>
        <p:spPr>
          <a:xfrm>
            <a:off x="11225474" y="1173789"/>
            <a:ext cx="1165399" cy="1007797"/>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oards</a:t>
            </a:r>
          </a:p>
        </p:txBody>
      </p:sp>
      <p:sp>
        <p:nvSpPr>
          <p:cNvPr id="103" name="Hexagon 102">
            <a:extLst>
              <a:ext uri="{FF2B5EF4-FFF2-40B4-BE49-F238E27FC236}">
                <a16:creationId xmlns:a16="http://schemas.microsoft.com/office/drawing/2014/main" id="{32314C18-0062-41B3-926F-139FE4204D8B}"/>
              </a:ext>
            </a:extLst>
          </p:cNvPr>
          <p:cNvSpPr/>
          <p:nvPr/>
        </p:nvSpPr>
        <p:spPr>
          <a:xfrm>
            <a:off x="926999" y="2907614"/>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HS Med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munications</a:t>
            </a:r>
          </a:p>
        </p:txBody>
      </p:sp>
      <p:sp>
        <p:nvSpPr>
          <p:cNvPr id="24" name="Hexagon 23">
            <a:extLst>
              <a:ext uri="{FF2B5EF4-FFF2-40B4-BE49-F238E27FC236}">
                <a16:creationId xmlns:a16="http://schemas.microsoft.com/office/drawing/2014/main" id="{C12F6A95-0323-4991-89DB-A0F76BDB95E4}"/>
              </a:ext>
            </a:extLst>
          </p:cNvPr>
          <p:cNvSpPr/>
          <p:nvPr/>
        </p:nvSpPr>
        <p:spPr>
          <a:xfrm>
            <a:off x="2133001" y="1432793"/>
            <a:ext cx="1214803" cy="1020511"/>
          </a:xfrm>
          <a:prstGeom prst="hexagon">
            <a:avLst>
              <a:gd name="adj" fmla="val 32643"/>
              <a:gd name="vf" fmla="val 115470"/>
            </a:avLst>
          </a:prstGeom>
          <a:solidFill>
            <a:schemeClr val="tx2">
              <a:alpha val="20000"/>
            </a:schemeClr>
          </a:solidFill>
          <a:ln w="15875" cap="flat">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overn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lic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ocuments)</a:t>
            </a:r>
          </a:p>
        </p:txBody>
      </p:sp>
    </p:spTree>
    <p:extLst>
      <p:ext uri="{BB962C8B-B14F-4D97-AF65-F5344CB8AC3E}">
        <p14:creationId xmlns:p14="http://schemas.microsoft.com/office/powerpoint/2010/main" val="1246457036"/>
      </p:ext>
    </p:extLst>
  </p:cSld>
  <p:clrMapOvr>
    <a:masterClrMapping/>
  </p:clrMapOvr>
  <p:transition spd="slow">
    <p:cu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7BF3A1-27FA-424E-8626-245029F946E5}"/>
              </a:ext>
            </a:extLst>
          </p:cNvPr>
          <p:cNvSpPr>
            <a:spLocks noGrp="1"/>
          </p:cNvSpPr>
          <p:nvPr>
            <p:ph sz="quarter" idx="10"/>
          </p:nvPr>
        </p:nvSpPr>
        <p:spPr>
          <a:xfrm>
            <a:off x="824839" y="1971674"/>
            <a:ext cx="10173362" cy="4374261"/>
          </a:xfrm>
        </p:spPr>
        <p:txBody>
          <a:bodyPr/>
          <a:lstStyle/>
          <a:p>
            <a:r>
              <a:rPr lang="en-GB" sz="2400" dirty="0"/>
              <a:t>We are taking a paper to the Executive Quality Board Clinical Audit Sub-Group in September to set out recommendations for embedding Clinical Audit for Improvement </a:t>
            </a:r>
          </a:p>
          <a:p>
            <a:endParaRPr lang="en-GB" sz="2400" dirty="0"/>
          </a:p>
          <a:p>
            <a:r>
              <a:rPr lang="en-GB" sz="2400" dirty="0"/>
              <a:t>Share the outcome at the Clinical Audit Leadership Conference in November </a:t>
            </a:r>
          </a:p>
        </p:txBody>
      </p:sp>
      <p:sp>
        <p:nvSpPr>
          <p:cNvPr id="3" name="Title 2">
            <a:extLst>
              <a:ext uri="{FF2B5EF4-FFF2-40B4-BE49-F238E27FC236}">
                <a16:creationId xmlns:a16="http://schemas.microsoft.com/office/drawing/2014/main" id="{33EACEA9-6069-45F6-A58D-E453420C9147}"/>
              </a:ext>
            </a:extLst>
          </p:cNvPr>
          <p:cNvSpPr>
            <a:spLocks noGrp="1"/>
          </p:cNvSpPr>
          <p:nvPr>
            <p:ph type="title"/>
          </p:nvPr>
        </p:nvSpPr>
        <p:spPr/>
        <p:txBody>
          <a:bodyPr/>
          <a:lstStyle/>
          <a:p>
            <a:r>
              <a:rPr lang="en-GB" dirty="0"/>
              <a:t>Next steps</a:t>
            </a:r>
          </a:p>
        </p:txBody>
      </p:sp>
    </p:spTree>
    <p:extLst>
      <p:ext uri="{BB962C8B-B14F-4D97-AF65-F5344CB8AC3E}">
        <p14:creationId xmlns:p14="http://schemas.microsoft.com/office/powerpoint/2010/main" val="5469003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AF2EA8-4B6E-9141-9A21-57AF27015B2D}"/>
              </a:ext>
            </a:extLst>
          </p:cNvPr>
          <p:cNvSpPr/>
          <p:nvPr/>
        </p:nvSpPr>
        <p:spPr>
          <a:xfrm>
            <a:off x="0" y="0"/>
            <a:ext cx="12192000" cy="6857999"/>
          </a:xfrm>
          <a:prstGeom prst="rect">
            <a:avLst/>
          </a:prstGeom>
          <a:gradFill flip="none" rotWithShape="1">
            <a:gsLst>
              <a:gs pos="0">
                <a:schemeClr val="tx2"/>
              </a:gs>
              <a:gs pos="99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6FFA9A0-CFD0-4A65-945B-AED4297394F5}"/>
              </a:ext>
            </a:extLst>
          </p:cNvPr>
          <p:cNvSpPr>
            <a:spLocks noGrp="1"/>
          </p:cNvSpPr>
          <p:nvPr>
            <p:ph type="title"/>
          </p:nvPr>
        </p:nvSpPr>
        <p:spPr>
          <a:xfrm>
            <a:off x="654125" y="1769164"/>
            <a:ext cx="10924961" cy="1979239"/>
          </a:xfrm>
        </p:spPr>
        <p:txBody>
          <a:bodyPr anchor="t"/>
          <a:lstStyle/>
          <a:p>
            <a:r>
              <a:rPr lang="en-GB" sz="4800" dirty="0">
                <a:solidFill>
                  <a:schemeClr val="bg1"/>
                </a:solidFill>
              </a:rPr>
              <a:t>An introduction to the development of a Coproduction Strategy for the Improvement Directorate for NHSEI</a:t>
            </a:r>
          </a:p>
        </p:txBody>
      </p:sp>
      <p:cxnSp>
        <p:nvCxnSpPr>
          <p:cNvPr id="14" name="Straight Connector 13">
            <a:extLst>
              <a:ext uri="{FF2B5EF4-FFF2-40B4-BE49-F238E27FC236}">
                <a16:creationId xmlns:a16="http://schemas.microsoft.com/office/drawing/2014/main" id="{49316DD1-E02D-4B63-B401-5F85E726F143}"/>
              </a:ext>
            </a:extLst>
          </p:cNvPr>
          <p:cNvCxnSpPr>
            <a:cxnSpLocks/>
          </p:cNvCxnSpPr>
          <p:nvPr/>
        </p:nvCxnSpPr>
        <p:spPr>
          <a:xfrm>
            <a:off x="695338" y="3927348"/>
            <a:ext cx="10883748"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9839047"/>
      </p:ext>
    </p:extLst>
  </p:cSld>
  <p:clrMapOvr>
    <a:masterClrMapping/>
  </p:clrMapOvr>
  <p:transition spd="slow">
    <p:cu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AF2EA8-4B6E-9141-9A21-57AF27015B2D}"/>
              </a:ext>
            </a:extLst>
          </p:cNvPr>
          <p:cNvSpPr/>
          <p:nvPr/>
        </p:nvSpPr>
        <p:spPr>
          <a:xfrm>
            <a:off x="0" y="0"/>
            <a:ext cx="12192000" cy="6857999"/>
          </a:xfrm>
          <a:prstGeom prst="rect">
            <a:avLst/>
          </a:prstGeom>
          <a:gradFill flip="none" rotWithShape="1">
            <a:gsLst>
              <a:gs pos="0">
                <a:schemeClr val="tx2"/>
              </a:gs>
              <a:gs pos="99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6FFA9A0-CFD0-4A65-945B-AED4297394F5}"/>
              </a:ext>
            </a:extLst>
          </p:cNvPr>
          <p:cNvSpPr>
            <a:spLocks noGrp="1"/>
          </p:cNvSpPr>
          <p:nvPr>
            <p:ph type="title"/>
          </p:nvPr>
        </p:nvSpPr>
        <p:spPr>
          <a:xfrm>
            <a:off x="654126" y="2480418"/>
            <a:ext cx="9432324" cy="1267985"/>
          </a:xfrm>
        </p:spPr>
        <p:txBody>
          <a:bodyPr anchor="t"/>
          <a:lstStyle/>
          <a:p>
            <a:r>
              <a:rPr lang="en-GB" sz="4800" dirty="0">
                <a:solidFill>
                  <a:schemeClr val="bg1"/>
                </a:solidFill>
              </a:rPr>
              <a:t>An introduction to </a:t>
            </a:r>
            <a:br>
              <a:rPr lang="en-GB" sz="4800" dirty="0">
                <a:solidFill>
                  <a:schemeClr val="bg1"/>
                </a:solidFill>
              </a:rPr>
            </a:br>
            <a:r>
              <a:rPr lang="en-GB" sz="4800" dirty="0">
                <a:solidFill>
                  <a:schemeClr val="bg1"/>
                </a:solidFill>
              </a:rPr>
              <a:t>Clinical Improvement</a:t>
            </a:r>
          </a:p>
        </p:txBody>
      </p:sp>
      <p:grpSp>
        <p:nvGrpSpPr>
          <p:cNvPr id="41" name="Group 40">
            <a:extLst>
              <a:ext uri="{FF2B5EF4-FFF2-40B4-BE49-F238E27FC236}">
                <a16:creationId xmlns:a16="http://schemas.microsoft.com/office/drawing/2014/main" id="{46183A84-6DA2-4C11-977B-8495B4AD318D}"/>
              </a:ext>
            </a:extLst>
          </p:cNvPr>
          <p:cNvGrpSpPr/>
          <p:nvPr/>
        </p:nvGrpSpPr>
        <p:grpSpPr>
          <a:xfrm>
            <a:off x="654126" y="367532"/>
            <a:ext cx="12816310" cy="6122933"/>
            <a:chOff x="654126" y="367532"/>
            <a:chExt cx="12816310" cy="6122933"/>
          </a:xfrm>
        </p:grpSpPr>
        <p:cxnSp>
          <p:nvCxnSpPr>
            <p:cNvPr id="5" name="Straight Connector 4">
              <a:extLst>
                <a:ext uri="{FF2B5EF4-FFF2-40B4-BE49-F238E27FC236}">
                  <a16:creationId xmlns:a16="http://schemas.microsoft.com/office/drawing/2014/main" id="{6E291037-4FDE-3D41-AD8F-8A26A4584DE6}"/>
                </a:ext>
              </a:extLst>
            </p:cNvPr>
            <p:cNvCxnSpPr>
              <a:cxnSpLocks/>
            </p:cNvCxnSpPr>
            <p:nvPr/>
          </p:nvCxnSpPr>
          <p:spPr>
            <a:xfrm>
              <a:off x="654126" y="3857773"/>
              <a:ext cx="10883748"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E2F35730-1941-400B-A5F6-63C9614FCFA7}"/>
                </a:ext>
              </a:extLst>
            </p:cNvPr>
            <p:cNvGraphicFramePr/>
            <p:nvPr/>
          </p:nvGraphicFramePr>
          <p:xfrm>
            <a:off x="4124670" y="367532"/>
            <a:ext cx="9345766" cy="6122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871BD6DA-DDD0-44C4-83BD-76861F236AF8}"/>
                </a:ext>
              </a:extLst>
            </p:cNvPr>
            <p:cNvSpPr txBox="1"/>
            <p:nvPr/>
          </p:nvSpPr>
          <p:spPr>
            <a:xfrm>
              <a:off x="7299480" y="4707388"/>
              <a:ext cx="1027397"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Syste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Development</a:t>
              </a:r>
            </a:p>
          </p:txBody>
        </p:sp>
        <p:sp>
          <p:nvSpPr>
            <p:cNvPr id="11" name="TextBox 10">
              <a:extLst>
                <a:ext uri="{FF2B5EF4-FFF2-40B4-BE49-F238E27FC236}">
                  <a16:creationId xmlns:a16="http://schemas.microsoft.com/office/drawing/2014/main" id="{3DA9EFAC-97B7-491F-9EE7-FB4FDE1FA2E4}"/>
                </a:ext>
              </a:extLst>
            </p:cNvPr>
            <p:cNvSpPr txBox="1"/>
            <p:nvPr/>
          </p:nvSpPr>
          <p:spPr>
            <a:xfrm>
              <a:off x="8281066" y="5480639"/>
              <a:ext cx="1032976"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Pathw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Improvement</a:t>
              </a:r>
            </a:p>
          </p:txBody>
        </p:sp>
        <p:sp>
          <p:nvSpPr>
            <p:cNvPr id="12" name="TextBox 11">
              <a:extLst>
                <a:ext uri="{FF2B5EF4-FFF2-40B4-BE49-F238E27FC236}">
                  <a16:creationId xmlns:a16="http://schemas.microsoft.com/office/drawing/2014/main" id="{5F5ED984-78DE-4347-81CF-F00A8D83768F}"/>
                </a:ext>
              </a:extLst>
            </p:cNvPr>
            <p:cNvSpPr txBox="1"/>
            <p:nvPr/>
          </p:nvSpPr>
          <p:spPr>
            <a:xfrm>
              <a:off x="8990509" y="4728569"/>
              <a:ext cx="1358064"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Health Inequa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Improvement</a:t>
              </a:r>
            </a:p>
          </p:txBody>
        </p:sp>
        <p:sp>
          <p:nvSpPr>
            <p:cNvPr id="13" name="TextBox 12">
              <a:extLst>
                <a:ext uri="{FF2B5EF4-FFF2-40B4-BE49-F238E27FC236}">
                  <a16:creationId xmlns:a16="http://schemas.microsoft.com/office/drawing/2014/main" id="{69B574A1-0433-4F08-9A25-67D54AB24027}"/>
                </a:ext>
              </a:extLst>
            </p:cNvPr>
            <p:cNvSpPr txBox="1"/>
            <p:nvPr/>
          </p:nvSpPr>
          <p:spPr>
            <a:xfrm>
              <a:off x="10467823" y="5481271"/>
              <a:ext cx="725070"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Futu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alibri" panose="020F0502020204030204"/>
                  <a:ea typeface="+mn-ea"/>
                  <a:cs typeface="+mn-cs"/>
                </a:rPr>
                <a:t>Platform</a:t>
              </a:r>
            </a:p>
          </p:txBody>
        </p:sp>
      </p:grpSp>
    </p:spTree>
    <p:extLst>
      <p:ext uri="{BB962C8B-B14F-4D97-AF65-F5344CB8AC3E}">
        <p14:creationId xmlns:p14="http://schemas.microsoft.com/office/powerpoint/2010/main" val="3206805920"/>
      </p:ext>
    </p:extLst>
  </p:cSld>
  <p:clrMapOvr>
    <a:masterClrMapping/>
  </p:clrMapOvr>
  <p:transition spd="slow">
    <p:cu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CC3F75-D99C-4BBE-88DA-2B84498B55FD}"/>
              </a:ext>
            </a:extLst>
          </p:cNvPr>
          <p:cNvSpPr>
            <a:spLocks noGrp="1"/>
          </p:cNvSpPr>
          <p:nvPr>
            <p:ph type="title"/>
          </p:nvPr>
        </p:nvSpPr>
        <p:spPr>
          <a:xfrm>
            <a:off x="950269" y="289548"/>
            <a:ext cx="9728076" cy="611649"/>
          </a:xfrm>
        </p:spPr>
        <p:txBody>
          <a:bodyPr/>
          <a:lstStyle/>
          <a:p>
            <a:pPr algn="ctr"/>
            <a:r>
              <a:rPr lang="en-GB" sz="3600" dirty="0"/>
              <a:t>Putting the voice of people with lived experience at the heart of everything we do </a:t>
            </a:r>
            <a:br>
              <a:rPr lang="en-GB" b="0" dirty="0"/>
            </a:br>
            <a:endParaRPr lang="en-GB" dirty="0"/>
          </a:p>
        </p:txBody>
      </p:sp>
      <p:pic>
        <p:nvPicPr>
          <p:cNvPr id="1026" name="Picture 2">
            <a:extLst>
              <a:ext uri="{FF2B5EF4-FFF2-40B4-BE49-F238E27FC236}">
                <a16:creationId xmlns:a16="http://schemas.microsoft.com/office/drawing/2014/main" id="{7607057F-8E9D-48A2-B62C-3C9AD94F74B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3007"/>
          <a:stretch/>
        </p:blipFill>
        <p:spPr bwMode="auto">
          <a:xfrm>
            <a:off x="810062" y="1750141"/>
            <a:ext cx="10169088" cy="4976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7933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4DA901-744B-4CA6-A098-5BC1466D4CB1}"/>
              </a:ext>
            </a:extLst>
          </p:cNvPr>
          <p:cNvSpPr>
            <a:spLocks noGrp="1"/>
          </p:cNvSpPr>
          <p:nvPr>
            <p:ph type="title"/>
          </p:nvPr>
        </p:nvSpPr>
        <p:spPr/>
        <p:txBody>
          <a:bodyPr/>
          <a:lstStyle/>
          <a:p>
            <a:r>
              <a:rPr lang="en-GB" dirty="0"/>
              <a:t>BCN Rapid Review – Recommendation 1</a:t>
            </a:r>
          </a:p>
        </p:txBody>
      </p:sp>
      <p:graphicFrame>
        <p:nvGraphicFramePr>
          <p:cNvPr id="4" name="Table 3">
            <a:extLst>
              <a:ext uri="{FF2B5EF4-FFF2-40B4-BE49-F238E27FC236}">
                <a16:creationId xmlns:a16="http://schemas.microsoft.com/office/drawing/2014/main" id="{648D1A92-5952-4372-9762-6190D5C6DE79}"/>
              </a:ext>
            </a:extLst>
          </p:cNvPr>
          <p:cNvGraphicFramePr>
            <a:graphicFrameLocks noGrp="1"/>
          </p:cNvGraphicFramePr>
          <p:nvPr>
            <p:extLst>
              <p:ext uri="{D42A27DB-BD31-4B8C-83A1-F6EECF244321}">
                <p14:modId xmlns:p14="http://schemas.microsoft.com/office/powerpoint/2010/main" val="1301659949"/>
              </p:ext>
            </p:extLst>
          </p:nvPr>
        </p:nvGraphicFramePr>
        <p:xfrm>
          <a:off x="755264" y="1380561"/>
          <a:ext cx="10261092" cy="4876800"/>
        </p:xfrm>
        <a:graphic>
          <a:graphicData uri="http://schemas.openxmlformats.org/drawingml/2006/table">
            <a:tbl>
              <a:tblPr firstRow="1" bandRow="1">
                <a:tableStyleId>{8EC20E35-A176-4012-BC5E-935CFFF8708E}</a:tableStyleId>
              </a:tblPr>
              <a:tblGrid>
                <a:gridCol w="10261092">
                  <a:extLst>
                    <a:ext uri="{9D8B030D-6E8A-4147-A177-3AD203B41FA5}">
                      <a16:colId xmlns:a16="http://schemas.microsoft.com/office/drawing/2014/main" val="3584293858"/>
                    </a:ext>
                  </a:extLst>
                </a:gridCol>
              </a:tblGrid>
              <a:tr h="585975">
                <a:tc>
                  <a:txBody>
                    <a:bodyPr/>
                    <a:lstStyle/>
                    <a:p>
                      <a:r>
                        <a:rPr lang="en-US" sz="2000" dirty="0">
                          <a:effectLst/>
                          <a:latin typeface="Arial"/>
                        </a:rPr>
                        <a:t>Recommendation 1: </a:t>
                      </a:r>
                    </a:p>
                    <a:p>
                      <a:r>
                        <a:rPr lang="en-US" sz="2000" dirty="0">
                          <a:effectLst/>
                          <a:latin typeface="Arial"/>
                        </a:rPr>
                        <a:t>Co-Production as Default – Led by Experience of Care Team, Nursing Directorate </a:t>
                      </a:r>
                    </a:p>
                  </a:txBody>
                  <a:tcPr marL="117718" marR="117718" marT="0" marB="0">
                    <a:solidFill>
                      <a:schemeClr val="accent4"/>
                    </a:solidFill>
                  </a:tcPr>
                </a:tc>
                <a:extLst>
                  <a:ext uri="{0D108BD9-81ED-4DB2-BD59-A6C34878D82A}">
                    <a16:rowId xmlns:a16="http://schemas.microsoft.com/office/drawing/2014/main" val="2356849394"/>
                  </a:ext>
                </a:extLst>
              </a:tr>
              <a:tr h="847571">
                <a:tc>
                  <a:txBody>
                    <a:bodyPr/>
                    <a:lstStyle/>
                    <a:p>
                      <a:r>
                        <a:rPr lang="en-US" sz="2000" dirty="0">
                          <a:effectLst/>
                          <a:latin typeface="Arial"/>
                        </a:rPr>
                        <a:t>Work with system partners to place co-production – including people with relevant lived experience – at the </a:t>
                      </a:r>
                      <a:r>
                        <a:rPr lang="en-US" sz="2000" dirty="0" err="1">
                          <a:effectLst/>
                          <a:latin typeface="Arial"/>
                        </a:rPr>
                        <a:t>centre</a:t>
                      </a:r>
                      <a:r>
                        <a:rPr lang="en-US" sz="2000" dirty="0">
                          <a:effectLst/>
                          <a:latin typeface="Arial"/>
                        </a:rPr>
                        <a:t> of how the health and care system learns and embeds change from the response to COVID-19. </a:t>
                      </a:r>
                    </a:p>
                  </a:txBody>
                  <a:tcPr marL="117718" marR="117718" marT="0" marB="0"/>
                </a:tc>
                <a:extLst>
                  <a:ext uri="{0D108BD9-81ED-4DB2-BD59-A6C34878D82A}">
                    <a16:rowId xmlns:a16="http://schemas.microsoft.com/office/drawing/2014/main" val="4031193253"/>
                  </a:ext>
                </a:extLst>
              </a:tr>
              <a:tr h="2940336">
                <a:tc>
                  <a:txBody>
                    <a:bodyPr/>
                    <a:lstStyle/>
                    <a:p>
                      <a:r>
                        <a:rPr lang="en-US" sz="2000" dirty="0">
                          <a:effectLst/>
                          <a:latin typeface="Arial"/>
                        </a:rPr>
                        <a:t>Actions: </a:t>
                      </a:r>
                    </a:p>
                    <a:p>
                      <a:r>
                        <a:rPr lang="en-US" sz="2000" dirty="0">
                          <a:effectLst/>
                          <a:latin typeface="Arial"/>
                        </a:rPr>
                        <a:t>In local services, in ICSs and nationally, we will transform our ways of working so that we are able to demonstrate that we: </a:t>
                      </a:r>
                    </a:p>
                    <a:p>
                      <a:pPr marL="342900" lvl="0" indent="-342900"/>
                      <a:r>
                        <a:rPr lang="en-US" sz="2000" dirty="0">
                          <a:effectLst/>
                          <a:latin typeface="Arial"/>
                        </a:rPr>
                        <a:t>Always start from what matters most to people who use and work in services </a:t>
                      </a:r>
                    </a:p>
                    <a:p>
                      <a:pPr marL="342900" lvl="0" indent="-342900"/>
                      <a:r>
                        <a:rPr lang="en-US" sz="2000" dirty="0">
                          <a:effectLst/>
                          <a:latin typeface="Arial"/>
                        </a:rPr>
                        <a:t>Work with people who have relevant lived experience (patients, service users, unpaid </a:t>
                      </a:r>
                      <a:r>
                        <a:rPr lang="en-US" sz="2000" dirty="0" err="1">
                          <a:effectLst/>
                          <a:latin typeface="Arial"/>
                        </a:rPr>
                        <a:t>carers</a:t>
                      </a:r>
                      <a:r>
                        <a:rPr lang="en-US" sz="2000" dirty="0">
                          <a:effectLst/>
                          <a:latin typeface="Arial"/>
                        </a:rPr>
                        <a:t> and people in paid lived experience roles) and with staff, in everything we do to directly connect with multiple and diverse voices </a:t>
                      </a:r>
                    </a:p>
                    <a:p>
                      <a:pPr marL="342900" lvl="0" indent="-342900"/>
                      <a:r>
                        <a:rPr lang="en-US" sz="2000" dirty="0">
                          <a:effectLst/>
                          <a:latin typeface="Arial"/>
                        </a:rPr>
                        <a:t>Build equal and reciprocal partnerships with people who have relevant lived experience, and staff, including with those from disadvantaged and minority communities, from the very start of, and throughout, all our work. </a:t>
                      </a:r>
                    </a:p>
                    <a:p>
                      <a:endParaRPr lang="en-US" sz="2000" dirty="0">
                        <a:effectLst/>
                        <a:latin typeface="Arial"/>
                      </a:endParaRPr>
                    </a:p>
                  </a:txBody>
                  <a:tcPr marL="117718" marR="117718" marT="0" marB="0"/>
                </a:tc>
                <a:extLst>
                  <a:ext uri="{0D108BD9-81ED-4DB2-BD59-A6C34878D82A}">
                    <a16:rowId xmlns:a16="http://schemas.microsoft.com/office/drawing/2014/main" val="4097704601"/>
                  </a:ext>
                </a:extLst>
              </a:tr>
            </a:tbl>
          </a:graphicData>
        </a:graphic>
      </p:graphicFrame>
    </p:spTree>
    <p:extLst>
      <p:ext uri="{BB962C8B-B14F-4D97-AF65-F5344CB8AC3E}">
        <p14:creationId xmlns:p14="http://schemas.microsoft.com/office/powerpoint/2010/main" val="1227004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3A890F-6C14-4083-810C-00EC8F569CE1}"/>
              </a:ext>
            </a:extLst>
          </p:cNvPr>
          <p:cNvSpPr>
            <a:spLocks noGrp="1"/>
          </p:cNvSpPr>
          <p:nvPr>
            <p:ph sz="quarter" idx="10"/>
          </p:nvPr>
        </p:nvSpPr>
        <p:spPr/>
        <p:txBody>
          <a:bodyPr/>
          <a:lstStyle/>
          <a:p>
            <a:pPr marL="0" indent="0" fontAlgn="base">
              <a:buNone/>
            </a:pPr>
            <a:r>
              <a:rPr lang="en-GB" sz="1800" dirty="0"/>
              <a:t>The Lived Experience Partners will ensure the work of the Improvement Directorate is co-produced and based on what matters to people using our services and their carers. ​</a:t>
            </a:r>
          </a:p>
          <a:p>
            <a:pPr marL="0" indent="0" fontAlgn="base">
              <a:buNone/>
            </a:pPr>
            <a:r>
              <a:rPr lang="en-GB" sz="1800" dirty="0"/>
              <a:t>​</a:t>
            </a:r>
          </a:p>
          <a:p>
            <a:pPr marL="0" indent="0" fontAlgn="base">
              <a:buNone/>
            </a:pPr>
            <a:r>
              <a:rPr lang="en-GB" sz="1800" b="1" dirty="0"/>
              <a:t>The role of the Lived Experience Improvement Partner is to:</a:t>
            </a:r>
            <a:r>
              <a:rPr lang="en-US" sz="1800" dirty="0"/>
              <a:t>​</a:t>
            </a:r>
          </a:p>
          <a:p>
            <a:pPr fontAlgn="base"/>
            <a:r>
              <a:rPr lang="en-GB" sz="1800" dirty="0"/>
              <a:t>Ensure that the Improvement Directorate as a whole, and across workstreams, considers and prioritises the person who uses our services and their carers.</a:t>
            </a:r>
            <a:r>
              <a:rPr lang="en-US" sz="1800" dirty="0"/>
              <a:t>​</a:t>
            </a:r>
          </a:p>
          <a:p>
            <a:pPr fontAlgn="base"/>
            <a:r>
              <a:rPr lang="en-GB" sz="1800" dirty="0"/>
              <a:t>Ensure that relevant lived experience is central to the achievement of the Improvement Directorate principles.</a:t>
            </a:r>
            <a:r>
              <a:rPr lang="en-US" sz="1800" dirty="0"/>
              <a:t>​</a:t>
            </a:r>
          </a:p>
          <a:p>
            <a:pPr fontAlgn="base"/>
            <a:r>
              <a:rPr lang="en-GB" sz="1800" dirty="0"/>
              <a:t>Co-produce the programme ensuring diverse voices are included from a wide range of people, communities and networks.</a:t>
            </a:r>
            <a:r>
              <a:rPr lang="en-US" sz="1800" dirty="0"/>
              <a:t>​</a:t>
            </a:r>
          </a:p>
          <a:p>
            <a:pPr fontAlgn="base"/>
            <a:r>
              <a:rPr lang="en-GB" sz="1800" dirty="0"/>
              <a:t>Champion and advocate for increasing lived experience and public awareness of the outcomes and achievements of the Improvement Directorate. ​</a:t>
            </a:r>
          </a:p>
          <a:p>
            <a:pPr fontAlgn="base"/>
            <a:r>
              <a:rPr lang="en-GB" sz="1800" dirty="0"/>
              <a:t>Be an active team member</a:t>
            </a:r>
            <a:endParaRPr lang="en-US" sz="1800" dirty="0"/>
          </a:p>
          <a:p>
            <a:endParaRPr lang="en-GB" sz="1800" dirty="0"/>
          </a:p>
        </p:txBody>
      </p:sp>
      <p:sp>
        <p:nvSpPr>
          <p:cNvPr id="3" name="Title 2">
            <a:extLst>
              <a:ext uri="{FF2B5EF4-FFF2-40B4-BE49-F238E27FC236}">
                <a16:creationId xmlns:a16="http://schemas.microsoft.com/office/drawing/2014/main" id="{F4ED416E-3DB4-41B8-A4CC-26F8F0CFED4E}"/>
              </a:ext>
            </a:extLst>
          </p:cNvPr>
          <p:cNvSpPr>
            <a:spLocks noGrp="1"/>
          </p:cNvSpPr>
          <p:nvPr>
            <p:ph type="title"/>
          </p:nvPr>
        </p:nvSpPr>
        <p:spPr/>
        <p:txBody>
          <a:bodyPr/>
          <a:lstStyle/>
          <a:p>
            <a:r>
              <a:rPr lang="en-GB" dirty="0"/>
              <a:t>Lived Experience Improvement Partners</a:t>
            </a:r>
          </a:p>
        </p:txBody>
      </p:sp>
    </p:spTree>
    <p:extLst>
      <p:ext uri="{BB962C8B-B14F-4D97-AF65-F5344CB8AC3E}">
        <p14:creationId xmlns:p14="http://schemas.microsoft.com/office/powerpoint/2010/main" val="13018009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6174D8-0CC1-4477-B429-EF8382D3B9CC}"/>
              </a:ext>
            </a:extLst>
          </p:cNvPr>
          <p:cNvSpPr>
            <a:spLocks noGrp="1"/>
          </p:cNvSpPr>
          <p:nvPr>
            <p:ph sz="quarter" idx="10"/>
          </p:nvPr>
        </p:nvSpPr>
        <p:spPr>
          <a:xfrm>
            <a:off x="513753" y="1958009"/>
            <a:ext cx="11137776" cy="3775117"/>
          </a:xfrm>
        </p:spPr>
        <p:txBody>
          <a:bodyPr/>
          <a:lstStyle/>
          <a:p>
            <a:r>
              <a:rPr lang="en-GB" sz="2400" dirty="0"/>
              <a:t>42 lived experience members of the BCN</a:t>
            </a:r>
          </a:p>
          <a:p>
            <a:pPr marL="0" indent="0">
              <a:buNone/>
            </a:pPr>
            <a:endParaRPr lang="en-GB" sz="2400" dirty="0"/>
          </a:p>
          <a:p>
            <a:r>
              <a:rPr lang="en-GB" sz="2400" dirty="0"/>
              <a:t>Development of the Coproduction strategy for Improvement </a:t>
            </a:r>
          </a:p>
          <a:p>
            <a:pPr marL="0" indent="0">
              <a:buNone/>
            </a:pPr>
            <a:endParaRPr lang="en-GB" sz="2400" dirty="0"/>
          </a:p>
          <a:p>
            <a:r>
              <a:rPr lang="en-GB" sz="2400" dirty="0"/>
              <a:t>Create networks of relevant lived experience per pathway</a:t>
            </a:r>
          </a:p>
          <a:p>
            <a:pPr marL="0" indent="0">
              <a:buNone/>
            </a:pPr>
            <a:endParaRPr lang="en-GB" sz="2400" dirty="0"/>
          </a:p>
          <a:p>
            <a:r>
              <a:rPr lang="en-GB" sz="2400" dirty="0"/>
              <a:t>Learn from Best MSK who have a Lived Experience Board </a:t>
            </a:r>
          </a:p>
          <a:p>
            <a:pPr marL="0" indent="0">
              <a:buNone/>
            </a:pPr>
            <a:endParaRPr lang="en-GB" sz="2400" dirty="0"/>
          </a:p>
          <a:p>
            <a:r>
              <a:rPr lang="en-GB" sz="2400" dirty="0"/>
              <a:t>Improve access and outcomes through co-design  </a:t>
            </a:r>
          </a:p>
        </p:txBody>
      </p:sp>
      <p:sp>
        <p:nvSpPr>
          <p:cNvPr id="3" name="Title 2">
            <a:extLst>
              <a:ext uri="{FF2B5EF4-FFF2-40B4-BE49-F238E27FC236}">
                <a16:creationId xmlns:a16="http://schemas.microsoft.com/office/drawing/2014/main" id="{448024DD-7563-4098-82AF-73B4B9A0F8C5}"/>
              </a:ext>
            </a:extLst>
          </p:cNvPr>
          <p:cNvSpPr>
            <a:spLocks noGrp="1"/>
          </p:cNvSpPr>
          <p:nvPr>
            <p:ph type="title"/>
          </p:nvPr>
        </p:nvSpPr>
        <p:spPr>
          <a:xfrm>
            <a:off x="513753" y="431674"/>
            <a:ext cx="8756073" cy="611649"/>
          </a:xfrm>
        </p:spPr>
        <p:txBody>
          <a:bodyPr/>
          <a:lstStyle/>
          <a:p>
            <a:r>
              <a:rPr lang="en-GB" dirty="0"/>
              <a:t>Next Steps on Coproduction </a:t>
            </a:r>
          </a:p>
        </p:txBody>
      </p:sp>
    </p:spTree>
    <p:extLst>
      <p:ext uri="{BB962C8B-B14F-4D97-AF65-F5344CB8AC3E}">
        <p14:creationId xmlns:p14="http://schemas.microsoft.com/office/powerpoint/2010/main" val="10910111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Customer review">
            <a:extLst>
              <a:ext uri="{FF2B5EF4-FFF2-40B4-BE49-F238E27FC236}">
                <a16:creationId xmlns:a16="http://schemas.microsoft.com/office/drawing/2014/main" id="{ABB75A70-5D5B-438F-B982-812FFAD522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17928" y="3230323"/>
            <a:ext cx="2818259" cy="2818259"/>
          </a:xfrm>
          <a:prstGeom prst="rect">
            <a:avLst/>
          </a:prstGeom>
        </p:spPr>
      </p:pic>
      <p:sp>
        <p:nvSpPr>
          <p:cNvPr id="8" name="Content Placeholder 1">
            <a:extLst>
              <a:ext uri="{FF2B5EF4-FFF2-40B4-BE49-F238E27FC236}">
                <a16:creationId xmlns:a16="http://schemas.microsoft.com/office/drawing/2014/main" id="{A5627C12-50C0-49A8-A793-07BA74A56867}"/>
              </a:ext>
            </a:extLst>
          </p:cNvPr>
          <p:cNvSpPr>
            <a:spLocks noGrp="1"/>
          </p:cNvSpPr>
          <p:nvPr>
            <p:ph sz="quarter" idx="10"/>
          </p:nvPr>
        </p:nvSpPr>
        <p:spPr>
          <a:xfrm>
            <a:off x="755813" y="1515853"/>
            <a:ext cx="7281193" cy="4169266"/>
          </a:xfrm>
        </p:spPr>
        <p:txBody>
          <a:bodyPr/>
          <a:lstStyle/>
          <a:p>
            <a:pPr marL="0" indent="0">
              <a:buNone/>
            </a:pPr>
            <a:r>
              <a:rPr lang="en-GB" sz="4400" b="1" dirty="0">
                <a:solidFill>
                  <a:schemeClr val="accent2"/>
                </a:solidFill>
              </a:rPr>
              <a:t>How can we involve patients and the public in National Clinical Audit?</a:t>
            </a:r>
          </a:p>
          <a:p>
            <a:pPr marL="0" indent="0">
              <a:buNone/>
            </a:pPr>
            <a:endParaRPr lang="en-GB" sz="4400" b="1" dirty="0">
              <a:solidFill>
                <a:schemeClr val="accent2"/>
              </a:solidFill>
            </a:endParaRPr>
          </a:p>
          <a:p>
            <a:pPr marL="0" indent="0">
              <a:buNone/>
            </a:pPr>
            <a:endParaRPr lang="en-GB" sz="2800" b="1" dirty="0">
              <a:solidFill>
                <a:schemeClr val="accent2"/>
              </a:solidFill>
            </a:endParaRPr>
          </a:p>
          <a:p>
            <a:pPr marL="0" indent="0">
              <a:buNone/>
            </a:pPr>
            <a:r>
              <a:rPr lang="en-GB" sz="2800" b="1" dirty="0">
                <a:solidFill>
                  <a:schemeClr val="accent2"/>
                </a:solidFill>
              </a:rPr>
              <a:t>Please post your comments into the chat</a:t>
            </a:r>
            <a:endParaRPr lang="en-GB" b="1" dirty="0">
              <a:solidFill>
                <a:schemeClr val="accent2"/>
              </a:solidFill>
            </a:endParaRPr>
          </a:p>
        </p:txBody>
      </p:sp>
    </p:spTree>
    <p:extLst>
      <p:ext uri="{BB962C8B-B14F-4D97-AF65-F5344CB8AC3E}">
        <p14:creationId xmlns:p14="http://schemas.microsoft.com/office/powerpoint/2010/main" val="684101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descr="Customer review">
            <a:extLst>
              <a:ext uri="{FF2B5EF4-FFF2-40B4-BE49-F238E27FC236}">
                <a16:creationId xmlns:a16="http://schemas.microsoft.com/office/drawing/2014/main" id="{ABB75A70-5D5B-438F-B982-812FFAD522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17928" y="3230323"/>
            <a:ext cx="2818259" cy="2818259"/>
          </a:xfrm>
          <a:prstGeom prst="rect">
            <a:avLst/>
          </a:prstGeom>
        </p:spPr>
      </p:pic>
      <p:sp>
        <p:nvSpPr>
          <p:cNvPr id="6" name="Content Placeholder 1">
            <a:extLst>
              <a:ext uri="{FF2B5EF4-FFF2-40B4-BE49-F238E27FC236}">
                <a16:creationId xmlns:a16="http://schemas.microsoft.com/office/drawing/2014/main" id="{4374D21E-5E43-4FC5-9AFA-80B493B6E05F}"/>
              </a:ext>
            </a:extLst>
          </p:cNvPr>
          <p:cNvSpPr txBox="1">
            <a:spLocks/>
          </p:cNvSpPr>
          <p:nvPr/>
        </p:nvSpPr>
        <p:spPr>
          <a:xfrm>
            <a:off x="706117" y="1371600"/>
            <a:ext cx="7281193" cy="4949623"/>
          </a:xfrm>
          <a:prstGeom prst="rect">
            <a:avLst/>
          </a:prstGeom>
        </p:spPr>
        <p:txBody>
          <a:bodyPr vert="horz" lIns="0" tIns="0" rIns="0" bIns="0" rtlCol="0">
            <a:norm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1400" kern="1200">
                <a:solidFill>
                  <a:schemeClr val="accent1"/>
                </a:solidFill>
                <a:latin typeface="Arial" panose="020B0604020202020204" pitchFamily="34" charset="0"/>
                <a:ea typeface="+mn-ea"/>
                <a:cs typeface="Arial" panose="020B0604020202020204" pitchFamily="34" charset="0"/>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400" kern="1200">
                <a:solidFill>
                  <a:schemeClr val="accent1"/>
                </a:solidFill>
                <a:latin typeface="Arial" panose="020B0604020202020204" pitchFamily="34" charset="0"/>
                <a:ea typeface="+mn-ea"/>
                <a:cs typeface="Arial" panose="020B0604020202020204" pitchFamily="34" charset="0"/>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400" kern="1200">
                <a:solidFill>
                  <a:schemeClr val="accent1"/>
                </a:solidFill>
                <a:latin typeface="Arial" panose="020B0604020202020204" pitchFamily="34" charset="0"/>
                <a:ea typeface="+mn-ea"/>
                <a:cs typeface="Arial" panose="020B0604020202020204" pitchFamily="34" charset="0"/>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400" kern="1200">
                <a:solidFill>
                  <a:schemeClr val="accent1"/>
                </a:solidFill>
                <a:latin typeface="Arial" panose="020B0604020202020204" pitchFamily="34" charset="0"/>
                <a:ea typeface="+mn-ea"/>
                <a:cs typeface="Arial" panose="020B0604020202020204" pitchFamily="34" charset="0"/>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400" kern="1200">
                <a:solidFill>
                  <a:schemeClr val="accent1"/>
                </a:solidFill>
                <a:latin typeface="Arial" panose="020B0604020202020204" pitchFamily="34" charset="0"/>
                <a:ea typeface="+mn-ea"/>
                <a:cs typeface="Arial" panose="020B0604020202020204" pitchFamily="34" charset="0"/>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buFont typeface="Corbel" pitchFamily="34" charset="0"/>
              <a:buNone/>
            </a:pPr>
            <a:r>
              <a:rPr lang="en-GB" sz="4400" b="1" dirty="0">
                <a:solidFill>
                  <a:schemeClr val="accent2"/>
                </a:solidFill>
              </a:rPr>
              <a:t>How would you like the National Clinical Audit programme to continue to engage with you?</a:t>
            </a:r>
          </a:p>
          <a:p>
            <a:pPr marL="0" indent="0">
              <a:buFont typeface="Corbel" pitchFamily="34" charset="0"/>
              <a:buNone/>
            </a:pPr>
            <a:endParaRPr lang="en-GB" sz="4400" b="1" dirty="0">
              <a:solidFill>
                <a:schemeClr val="accent2"/>
              </a:solidFill>
            </a:endParaRPr>
          </a:p>
          <a:p>
            <a:pPr marL="0" indent="0">
              <a:buFont typeface="Corbel" pitchFamily="34" charset="0"/>
              <a:buNone/>
            </a:pPr>
            <a:r>
              <a:rPr lang="en-GB" sz="2800" b="1" dirty="0">
                <a:solidFill>
                  <a:schemeClr val="accent2"/>
                </a:solidFill>
              </a:rPr>
              <a:t>Please post your comments into the chat</a:t>
            </a:r>
            <a:endParaRPr lang="en-GB" b="1" dirty="0">
              <a:solidFill>
                <a:schemeClr val="accent2"/>
              </a:solidFill>
            </a:endParaRPr>
          </a:p>
        </p:txBody>
      </p:sp>
    </p:spTree>
    <p:extLst>
      <p:ext uri="{BB962C8B-B14F-4D97-AF65-F5344CB8AC3E}">
        <p14:creationId xmlns:p14="http://schemas.microsoft.com/office/powerpoint/2010/main" val="18993419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AF2EA8-4B6E-9141-9A21-57AF27015B2D}"/>
              </a:ext>
            </a:extLst>
          </p:cNvPr>
          <p:cNvSpPr/>
          <p:nvPr/>
        </p:nvSpPr>
        <p:spPr>
          <a:xfrm>
            <a:off x="0" y="1"/>
            <a:ext cx="12192000" cy="6857999"/>
          </a:xfrm>
          <a:prstGeom prst="rect">
            <a:avLst/>
          </a:prstGeom>
          <a:gradFill flip="none" rotWithShape="1">
            <a:gsLst>
              <a:gs pos="0">
                <a:schemeClr val="tx2"/>
              </a:gs>
              <a:gs pos="99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6FFA9A0-CFD0-4A65-945B-AED4297394F5}"/>
              </a:ext>
            </a:extLst>
          </p:cNvPr>
          <p:cNvSpPr>
            <a:spLocks noGrp="1"/>
          </p:cNvSpPr>
          <p:nvPr>
            <p:ph type="title"/>
          </p:nvPr>
        </p:nvSpPr>
        <p:spPr>
          <a:xfrm>
            <a:off x="654126" y="2299318"/>
            <a:ext cx="10883748" cy="1190488"/>
          </a:xfrm>
        </p:spPr>
        <p:txBody>
          <a:bodyPr anchor="t"/>
          <a:lstStyle/>
          <a:p>
            <a:pPr algn="ctr"/>
            <a:r>
              <a:rPr lang="en-GB" sz="7200" dirty="0">
                <a:solidFill>
                  <a:schemeClr val="bg1"/>
                </a:solidFill>
              </a:rPr>
              <a:t>Thank you</a:t>
            </a:r>
          </a:p>
        </p:txBody>
      </p:sp>
      <p:cxnSp>
        <p:nvCxnSpPr>
          <p:cNvPr id="5" name="Straight Connector 4">
            <a:extLst>
              <a:ext uri="{FF2B5EF4-FFF2-40B4-BE49-F238E27FC236}">
                <a16:creationId xmlns:a16="http://schemas.microsoft.com/office/drawing/2014/main" id="{6E291037-4FDE-3D41-AD8F-8A26A4584DE6}"/>
              </a:ext>
            </a:extLst>
          </p:cNvPr>
          <p:cNvCxnSpPr>
            <a:cxnSpLocks/>
          </p:cNvCxnSpPr>
          <p:nvPr/>
        </p:nvCxnSpPr>
        <p:spPr>
          <a:xfrm>
            <a:off x="654126" y="3681363"/>
            <a:ext cx="10883748"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3400542-72F7-4596-BF0B-8F98895838DA}"/>
              </a:ext>
            </a:extLst>
          </p:cNvPr>
          <p:cNvSpPr txBox="1"/>
          <p:nvPr/>
        </p:nvSpPr>
        <p:spPr>
          <a:xfrm>
            <a:off x="665569" y="4064479"/>
            <a:ext cx="10090415" cy="1282402"/>
          </a:xfrm>
          <a:prstGeom prst="rect">
            <a:avLst/>
          </a:prstGeom>
          <a:noFill/>
        </p:spPr>
        <p:txBody>
          <a:bodyPr wrap="square" rtlCol="0">
            <a:spAutoFit/>
          </a:bodyPr>
          <a:lstStyle/>
          <a:p>
            <a:pPr marR="0" lvl="0" algn="l" defTabSz="914400" rtl="0" eaLnBrk="1" fontAlgn="auto" latinLnBrk="0" hangingPunct="1">
              <a:lnSpc>
                <a:spcPts val="1600"/>
              </a:lnSpc>
              <a:spcBef>
                <a:spcPts val="0"/>
              </a:spcBef>
              <a:spcAft>
                <a:spcPts val="0"/>
              </a:spcAft>
              <a:buClr>
                <a:srgbClr val="005EB8"/>
              </a:buClr>
              <a:buSzTx/>
              <a:tabLst/>
              <a:defRPr/>
            </a:pPr>
            <a:r>
              <a:rPr kumimoji="0" lang="en-GB"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oin the Beneficial Changes Network </a:t>
            </a:r>
            <a:r>
              <a:rPr lang="en-GB" sz="1600" dirty="0">
                <a:solidFill>
                  <a:schemeClr val="bg1"/>
                </a:solidFill>
                <a:latin typeface="Arial" panose="020B0604020202020204" pitchFamily="34" charset="0"/>
                <a:cs typeface="Arial" panose="020B0604020202020204" pitchFamily="34" charset="0"/>
              </a:rPr>
              <a:t>- </a:t>
            </a:r>
            <a:r>
              <a:rPr kumimoji="0" lang="en-GB"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ttps://future.nhs.uk/BeneficialChangesCOVID19/</a:t>
            </a:r>
          </a:p>
          <a:p>
            <a:pPr marR="0" lvl="0" algn="l" defTabSz="914400" rtl="0" eaLnBrk="1" fontAlgn="auto" latinLnBrk="0" hangingPunct="1">
              <a:lnSpc>
                <a:spcPct val="100000"/>
              </a:lnSpc>
              <a:spcBef>
                <a:spcPts val="0"/>
              </a:spcBef>
              <a:spcAft>
                <a:spcPts val="0"/>
              </a:spcAft>
              <a:buClrTx/>
              <a:buSzTx/>
              <a:tabLst/>
              <a:defRPr/>
            </a:pPr>
            <a:endPar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llow us on Twitter - @NHSRightCareBCN</a:t>
            </a:r>
          </a:p>
          <a:p>
            <a:pPr marR="0" lvl="0" algn="l" defTabSz="914400" rtl="0" eaLnBrk="1" fontAlgn="auto" latinLnBrk="0" hangingPunct="1">
              <a:lnSpc>
                <a:spcPct val="100000"/>
              </a:lnSpc>
              <a:spcBef>
                <a:spcPts val="0"/>
              </a:spcBef>
              <a:spcAft>
                <a:spcPts val="0"/>
              </a:spcAft>
              <a:buClrTx/>
              <a:buSzTx/>
              <a:tabLst/>
              <a:defRPr/>
            </a:pPr>
            <a:endPar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ail us at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england.improvementsupporthubpmo@nhs.net</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338989854"/>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7592E9-0AC2-413C-B9F7-B9BA42816FC8}"/>
              </a:ext>
            </a:extLst>
          </p:cNvPr>
          <p:cNvSpPr>
            <a:spLocks noGrp="1"/>
          </p:cNvSpPr>
          <p:nvPr>
            <p:ph sz="quarter" idx="10"/>
          </p:nvPr>
        </p:nvSpPr>
        <p:spPr>
          <a:xfrm>
            <a:off x="316839" y="1007872"/>
            <a:ext cx="10173362" cy="5058664"/>
          </a:xfrm>
        </p:spPr>
        <p:txBody>
          <a:bodyPr lIns="0" tIns="0" rIns="0" bIns="0" anchor="t"/>
          <a:lstStyle/>
          <a:p>
            <a:pPr marL="0" indent="0">
              <a:buNone/>
            </a:pPr>
            <a:r>
              <a:rPr lang="en-GB" dirty="0"/>
              <a:t>The Clinical Improvement Group has three distinct focuses of work:</a:t>
            </a:r>
          </a:p>
          <a:p>
            <a:r>
              <a:rPr lang="en-GB" b="1" dirty="0"/>
              <a:t>Beneficial Changes Network</a:t>
            </a:r>
            <a:endParaRPr lang="en-GB" dirty="0"/>
          </a:p>
          <a:p>
            <a:r>
              <a:rPr lang="en-GB" b="1" dirty="0"/>
              <a:t>RightCare</a:t>
            </a:r>
            <a:endParaRPr lang="en-GB" dirty="0"/>
          </a:p>
          <a:p>
            <a:r>
              <a:rPr lang="en-GB" b="1" dirty="0"/>
              <a:t>Clinical Audit (from June 2021)</a:t>
            </a:r>
          </a:p>
          <a:p>
            <a:pPr marL="0" indent="0">
              <a:buNone/>
            </a:pPr>
            <a:r>
              <a:rPr lang="en-GB" dirty="0"/>
              <a:t>The National Incident Response Board commissioned the Improvement Directorate to capture the innovation and new ways of working from the frontline happening in response to the pandemic and so the </a:t>
            </a:r>
            <a:r>
              <a:rPr lang="en-GB" b="1" dirty="0"/>
              <a:t>Beneficial Changes Network </a:t>
            </a:r>
            <a:r>
              <a:rPr lang="en-GB" dirty="0"/>
              <a:t>evolved in May 2020. </a:t>
            </a:r>
          </a:p>
          <a:p>
            <a:pPr marL="0" indent="0">
              <a:buNone/>
            </a:pPr>
            <a:r>
              <a:rPr lang="en-GB" b="1" dirty="0" err="1"/>
              <a:t>RightCare</a:t>
            </a:r>
            <a:r>
              <a:rPr lang="en-GB" b="1" dirty="0"/>
              <a:t> </a:t>
            </a:r>
            <a:r>
              <a:rPr lang="en-GB" dirty="0"/>
              <a:t>started out as the NHS England national commissioning improvement programme to reduce unwarranted variation by benchmarking CCGs and highlighting opportunities for improvement across commissioning care pathways. Various data packs are now provided at Primary Care Network level and also at ICS level for systems to use locally to inform the transformation of care pathways. In addition, patient scenarios and toolkits are developed by the team to support delivery.</a:t>
            </a:r>
          </a:p>
          <a:p>
            <a:pPr marL="0" indent="0">
              <a:buNone/>
            </a:pPr>
            <a:r>
              <a:rPr lang="en-GB" dirty="0"/>
              <a:t>Historically </a:t>
            </a:r>
            <a:r>
              <a:rPr lang="en-GB" b="1" dirty="0"/>
              <a:t>Clinical Audit </a:t>
            </a:r>
            <a:r>
              <a:rPr lang="en-GB" dirty="0"/>
              <a:t>has been seen as a clinical intervention, led by the Medical Directorate at national level, however the Clinical Improvement Director now co-chairs the national forum giving us an opportunity to bring the national recommendations from clinical audit into the integrated improvement work at National and Regional level.</a:t>
            </a:r>
          </a:p>
          <a:p>
            <a:pPr marL="0" indent="0">
              <a:buNone/>
            </a:pPr>
            <a:r>
              <a:rPr lang="en-GB" dirty="0"/>
              <a:t>In addition the Clinical Improvement Group leads on a number of Improvement Directorate-wide initiatives:</a:t>
            </a:r>
          </a:p>
          <a:p>
            <a:r>
              <a:rPr lang="en-GB" dirty="0"/>
              <a:t>Coproduction </a:t>
            </a:r>
          </a:p>
          <a:p>
            <a:r>
              <a:rPr lang="en-GB" dirty="0"/>
              <a:t>Social Care integration – first workshop in July 2021</a:t>
            </a:r>
          </a:p>
          <a:p>
            <a:r>
              <a:rPr lang="en-GB" dirty="0"/>
              <a:t>Improvement Hub and repository on the NHS Futures site</a:t>
            </a:r>
          </a:p>
          <a:p>
            <a:endParaRPr lang="en-GB" dirty="0"/>
          </a:p>
        </p:txBody>
      </p:sp>
      <p:sp>
        <p:nvSpPr>
          <p:cNvPr id="3" name="Title 2">
            <a:extLst>
              <a:ext uri="{FF2B5EF4-FFF2-40B4-BE49-F238E27FC236}">
                <a16:creationId xmlns:a16="http://schemas.microsoft.com/office/drawing/2014/main" id="{F4F60948-3E4A-4B88-9EBB-1728C39A00E7}"/>
              </a:ext>
            </a:extLst>
          </p:cNvPr>
          <p:cNvSpPr>
            <a:spLocks noGrp="1"/>
          </p:cNvSpPr>
          <p:nvPr>
            <p:ph type="title"/>
          </p:nvPr>
        </p:nvSpPr>
        <p:spPr>
          <a:xfrm>
            <a:off x="359171" y="211541"/>
            <a:ext cx="8756073" cy="611649"/>
          </a:xfrm>
        </p:spPr>
        <p:txBody>
          <a:bodyPr lIns="0" tIns="0" rIns="0" bIns="0" anchor="t"/>
          <a:lstStyle/>
          <a:p>
            <a:r>
              <a:rPr lang="en-GB" dirty="0">
                <a:latin typeface="Arial"/>
                <a:cs typeface="Arial"/>
              </a:rPr>
              <a:t>Introducing the Clinical Improvement Group</a:t>
            </a:r>
            <a:endParaRPr lang="en-GB" dirty="0"/>
          </a:p>
        </p:txBody>
      </p:sp>
    </p:spTree>
    <p:extLst>
      <p:ext uri="{BB962C8B-B14F-4D97-AF65-F5344CB8AC3E}">
        <p14:creationId xmlns:p14="http://schemas.microsoft.com/office/powerpoint/2010/main" val="4165810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2DBC87-846E-4594-877B-F7081CBB19E3}"/>
              </a:ext>
            </a:extLst>
          </p:cNvPr>
          <p:cNvSpPr>
            <a:spLocks noGrp="1"/>
          </p:cNvSpPr>
          <p:nvPr>
            <p:ph sz="quarter" idx="10"/>
          </p:nvPr>
        </p:nvSpPr>
        <p:spPr>
          <a:xfrm>
            <a:off x="451550" y="1777027"/>
            <a:ext cx="11084345" cy="5247169"/>
          </a:xfrm>
        </p:spPr>
        <p:txBody>
          <a:bodyPr lIns="0" tIns="0" rIns="0" bIns="0" anchor="t"/>
          <a:lstStyle/>
          <a:p>
            <a:pPr marL="0" indent="0" algn="ctr">
              <a:lnSpc>
                <a:spcPts val="4000"/>
              </a:lnSpc>
              <a:buNone/>
            </a:pPr>
            <a:r>
              <a:rPr lang="en-GB" sz="2000" b="1">
                <a:solidFill>
                  <a:schemeClr val="bg2"/>
                </a:solidFill>
                <a:latin typeface="Arial"/>
                <a:cs typeface="Arial"/>
              </a:rPr>
              <a:t>The Beneficial Changes Network has come together to build on the incredible ways in which people and systems have responded to COVID-19 through innovation and collaboration, whilst safeguarding effective health and care delivery </a:t>
            </a:r>
            <a:endParaRPr lang="en-GB" sz="2000" b="1">
              <a:solidFill>
                <a:schemeClr val="bg2"/>
              </a:solidFill>
            </a:endParaRPr>
          </a:p>
          <a:p>
            <a:pPr marL="0" indent="0" algn="ctr">
              <a:lnSpc>
                <a:spcPts val="2600"/>
              </a:lnSpc>
              <a:buNone/>
            </a:pPr>
            <a:r>
              <a:rPr lang="en-GB" sz="2000">
                <a:solidFill>
                  <a:schemeClr val="bg2"/>
                </a:solidFill>
              </a:rPr>
              <a:t>We are a collaborative group of health and social care stakeholders and people with lived experience who want to harness and capture the benefits, evaluate these changes, to share the knowledge and embed the learning across the entire health and care sector. </a:t>
            </a:r>
          </a:p>
          <a:p>
            <a:pPr marL="0" indent="0" algn="ctr">
              <a:lnSpc>
                <a:spcPts val="2600"/>
              </a:lnSpc>
              <a:buNone/>
            </a:pPr>
            <a:r>
              <a:rPr lang="en-GB" sz="2000">
                <a:solidFill>
                  <a:schemeClr val="bg2"/>
                </a:solidFill>
              </a:rPr>
              <a:t>This encouraging and supportive alliance will help facilitate the cultural change to ensure these benefits are felt by all.  </a:t>
            </a:r>
          </a:p>
          <a:p>
            <a:pPr marL="0" indent="0">
              <a:lnSpc>
                <a:spcPts val="3660"/>
              </a:lnSpc>
              <a:buNone/>
            </a:pPr>
            <a:endParaRPr lang="en-GB" sz="2400">
              <a:solidFill>
                <a:srgbClr val="425463"/>
              </a:solidFill>
            </a:endParaRPr>
          </a:p>
        </p:txBody>
      </p:sp>
      <p:sp>
        <p:nvSpPr>
          <p:cNvPr id="3" name="Title 2">
            <a:extLst>
              <a:ext uri="{FF2B5EF4-FFF2-40B4-BE49-F238E27FC236}">
                <a16:creationId xmlns:a16="http://schemas.microsoft.com/office/drawing/2014/main" id="{403D4143-D1EC-48A6-B128-2BE568EA6E41}"/>
              </a:ext>
            </a:extLst>
          </p:cNvPr>
          <p:cNvSpPr>
            <a:spLocks noGrp="1"/>
          </p:cNvSpPr>
          <p:nvPr>
            <p:ph type="title"/>
          </p:nvPr>
        </p:nvSpPr>
        <p:spPr>
          <a:xfrm>
            <a:off x="566635" y="254965"/>
            <a:ext cx="8756073" cy="611649"/>
          </a:xfrm>
        </p:spPr>
        <p:txBody>
          <a:bodyPr lIns="0" tIns="0" rIns="0" bIns="0"/>
          <a:lstStyle/>
          <a:p>
            <a:r>
              <a:rPr lang="en-GB" dirty="0"/>
              <a:t>BCN Shared Purpose  </a:t>
            </a:r>
            <a:endParaRPr lang="en-GB" sz="3200" b="1" dirty="0"/>
          </a:p>
        </p:txBody>
      </p:sp>
      <p:cxnSp>
        <p:nvCxnSpPr>
          <p:cNvPr id="9" name="Straight Connector 8">
            <a:extLst>
              <a:ext uri="{FF2B5EF4-FFF2-40B4-BE49-F238E27FC236}">
                <a16:creationId xmlns:a16="http://schemas.microsoft.com/office/drawing/2014/main" id="{DBC0DBF0-A446-AC45-B667-C94477951E3A}"/>
              </a:ext>
            </a:extLst>
          </p:cNvPr>
          <p:cNvCxnSpPr>
            <a:cxnSpLocks/>
          </p:cNvCxnSpPr>
          <p:nvPr/>
        </p:nvCxnSpPr>
        <p:spPr>
          <a:xfrm>
            <a:off x="566635" y="885914"/>
            <a:ext cx="9220201" cy="0"/>
          </a:xfrm>
          <a:prstGeom prst="line">
            <a:avLst/>
          </a:prstGeom>
          <a:ln w="508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D99C5F3A-BB6B-884A-B30D-F5BC171A8A99}"/>
              </a:ext>
            </a:extLst>
          </p:cNvPr>
          <p:cNvSpPr txBox="1">
            <a:spLocks/>
          </p:cNvSpPr>
          <p:nvPr/>
        </p:nvSpPr>
        <p:spPr>
          <a:xfrm>
            <a:off x="824838" y="6425929"/>
            <a:ext cx="1845210" cy="240048"/>
          </a:xfrm>
          <a:prstGeom prst="rect">
            <a:avLst/>
          </a:prstGeom>
        </p:spPr>
        <p:txBody>
          <a:bodyPr vert="horz" lIns="0" tIns="0" rIns="0" bIns="0" rtlCol="0" anchor="t"/>
          <a:lstStyle>
            <a:defPPr>
              <a:defRPr lang="en-US"/>
            </a:defPPr>
            <a:lvl1pPr marL="0" algn="l" defTabSz="914400" rtl="0" eaLnBrk="1" latinLnBrk="0" hangingPunct="1">
              <a:defRPr sz="1200" b="0" kern="1200">
                <a:solidFill>
                  <a:srgbClr val="42546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463"/>
                </a:solidFill>
                <a:effectLst/>
                <a:uLnTx/>
                <a:uFillTx/>
                <a:latin typeface="Arial" charset="0"/>
                <a:cs typeface="Arial" charset="0"/>
              </a:rPr>
              <a:t>#beneficialchanges</a:t>
            </a:r>
            <a:endParaRPr kumimoji="0" lang="en-US" sz="1200" b="0" i="0" u="none" strike="noStrike" kern="1200" cap="none" spc="0" normalizeH="0" baseline="0" noProof="0">
              <a:ln>
                <a:noFill/>
              </a:ln>
              <a:solidFill>
                <a:srgbClr val="425463"/>
              </a:solidFill>
              <a:effectLst/>
              <a:uLnTx/>
              <a:uFillTx/>
              <a:latin typeface="Arial" charset="0"/>
              <a:cs typeface="Arial" charset="0"/>
            </a:endParaRPr>
          </a:p>
        </p:txBody>
      </p:sp>
    </p:spTree>
    <p:extLst>
      <p:ext uri="{BB962C8B-B14F-4D97-AF65-F5344CB8AC3E}">
        <p14:creationId xmlns:p14="http://schemas.microsoft.com/office/powerpoint/2010/main" val="1647679821"/>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Effect transition="in" filter="fade">
                                      <p:cBhvr>
                                        <p:cTn id="13" dur="1000"/>
                                        <p:tgtEl>
                                          <p:spTgt spid="2">
                                            <p:txEl>
                                              <p:pRg st="1" end="1"/>
                                            </p:txEl>
                                          </p:spTgt>
                                        </p:tgtEl>
                                      </p:cBhvr>
                                    </p:animEffect>
                                    <p:anim calcmode="lin" valueType="num">
                                      <p:cBhvr>
                                        <p:cTn id="14"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1000"/>
                                        <p:tgtEl>
                                          <p:spTgt spid="2">
                                            <p:txEl>
                                              <p:pRg st="2" end="2"/>
                                            </p:txEl>
                                          </p:spTgt>
                                        </p:tgtEl>
                                      </p:cBhvr>
                                    </p:animEffect>
                                    <p:anim calcmode="lin" valueType="num">
                                      <p:cBhvr>
                                        <p:cTn id="20"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CB4303-9EC4-944E-BB23-52DE101A3EAD}"/>
              </a:ext>
            </a:extLst>
          </p:cNvPr>
          <p:cNvPicPr>
            <a:picLocks noChangeAspect="1"/>
          </p:cNvPicPr>
          <p:nvPr/>
        </p:nvPicPr>
        <p:blipFill>
          <a:blip r:embed="rId2"/>
          <a:stretch>
            <a:fillRect/>
          </a:stretch>
        </p:blipFill>
        <p:spPr>
          <a:xfrm>
            <a:off x="0" y="0"/>
            <a:ext cx="12243816" cy="6858000"/>
          </a:xfrm>
          <a:prstGeom prst="rect">
            <a:avLst/>
          </a:prstGeom>
        </p:spPr>
      </p:pic>
      <p:sp>
        <p:nvSpPr>
          <p:cNvPr id="4" name="Rectangle 3">
            <a:extLst>
              <a:ext uri="{FF2B5EF4-FFF2-40B4-BE49-F238E27FC236}">
                <a16:creationId xmlns:a16="http://schemas.microsoft.com/office/drawing/2014/main" id="{D83E3795-57CC-C440-B515-212A2805249C}"/>
              </a:ext>
            </a:extLst>
          </p:cNvPr>
          <p:cNvSpPr/>
          <p:nvPr/>
        </p:nvSpPr>
        <p:spPr>
          <a:xfrm>
            <a:off x="228600" y="311835"/>
            <a:ext cx="2919984" cy="23083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Beneficial Changes Network</a:t>
            </a:r>
            <a:br>
              <a:rPr kumimoji="0" lang="en-GB" sz="36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br>
            <a:r>
              <a:rPr kumimoji="0" lang="en-GB" sz="36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2020-21</a:t>
            </a:r>
          </a:p>
        </p:txBody>
      </p:sp>
      <p:sp>
        <p:nvSpPr>
          <p:cNvPr id="5" name="Rectangle 4">
            <a:extLst>
              <a:ext uri="{FF2B5EF4-FFF2-40B4-BE49-F238E27FC236}">
                <a16:creationId xmlns:a16="http://schemas.microsoft.com/office/drawing/2014/main" id="{568D65DA-7261-7246-99B3-80F3EE08CAE9}"/>
              </a:ext>
            </a:extLst>
          </p:cNvPr>
          <p:cNvSpPr/>
          <p:nvPr/>
        </p:nvSpPr>
        <p:spPr>
          <a:xfrm>
            <a:off x="6438004" y="5107752"/>
            <a:ext cx="2540000" cy="116955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Network</a:t>
            </a:r>
            <a:r>
              <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sharing events </a:t>
            </a: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with hundreds of attendees and presented at over </a:t>
            </a:r>
            <a:r>
              <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60</a:t>
            </a: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external ev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Regional Priorities </a:t>
            </a: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agreed</a:t>
            </a:r>
          </a:p>
        </p:txBody>
      </p:sp>
      <p:sp>
        <p:nvSpPr>
          <p:cNvPr id="8" name="Rectangle 7">
            <a:extLst>
              <a:ext uri="{FF2B5EF4-FFF2-40B4-BE49-F238E27FC236}">
                <a16:creationId xmlns:a16="http://schemas.microsoft.com/office/drawing/2014/main" id="{99F49278-A54E-2E40-9ECD-0489882D1B77}"/>
              </a:ext>
            </a:extLst>
          </p:cNvPr>
          <p:cNvSpPr/>
          <p:nvPr/>
        </p:nvSpPr>
        <p:spPr>
          <a:xfrm>
            <a:off x="6521435" y="982938"/>
            <a:ext cx="2310571"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Over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300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stakeholder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submissions</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70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headline changes and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25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documents reviewed</a:t>
            </a:r>
          </a:p>
        </p:txBody>
      </p:sp>
      <p:sp>
        <p:nvSpPr>
          <p:cNvPr id="9" name="Rectangle 8">
            <a:extLst>
              <a:ext uri="{FF2B5EF4-FFF2-40B4-BE49-F238E27FC236}">
                <a16:creationId xmlns:a16="http://schemas.microsoft.com/office/drawing/2014/main" id="{95646E8E-61EF-CA44-999F-D4C72DD555C1}"/>
              </a:ext>
            </a:extLst>
          </p:cNvPr>
          <p:cNvSpPr/>
          <p:nvPr/>
        </p:nvSpPr>
        <p:spPr>
          <a:xfrm>
            <a:off x="9346692" y="1084938"/>
            <a:ext cx="2540000" cy="12464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Futures</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Network with over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1000 </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members from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24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stakeholder organisations across health and social care</a:t>
            </a:r>
          </a:p>
        </p:txBody>
      </p:sp>
      <p:sp>
        <p:nvSpPr>
          <p:cNvPr id="10" name="Rectangle 9">
            <a:extLst>
              <a:ext uri="{FF2B5EF4-FFF2-40B4-BE49-F238E27FC236}">
                <a16:creationId xmlns:a16="http://schemas.microsoft.com/office/drawing/2014/main" id="{03D44DE6-E949-2349-8A1C-B68ABBAE4C8D}"/>
              </a:ext>
            </a:extLst>
          </p:cNvPr>
          <p:cNvSpPr/>
          <p:nvPr/>
        </p:nvSpPr>
        <p:spPr>
          <a:xfrm>
            <a:off x="2018792" y="2975357"/>
            <a:ext cx="2540000" cy="16004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Review published </a:t>
            </a: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with AAC - key recommendations from </a:t>
            </a:r>
            <a:r>
              <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80+</a:t>
            </a: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stakeholder organisations on innovation, research and collaboration experienced during the pandemic</a:t>
            </a:r>
          </a:p>
        </p:txBody>
      </p:sp>
      <p:sp>
        <p:nvSpPr>
          <p:cNvPr id="11" name="Rectangle 10">
            <a:extLst>
              <a:ext uri="{FF2B5EF4-FFF2-40B4-BE49-F238E27FC236}">
                <a16:creationId xmlns:a16="http://schemas.microsoft.com/office/drawing/2014/main" id="{89C082B7-4A45-D64E-AE7B-B824630D44CF}"/>
              </a:ext>
            </a:extLst>
          </p:cNvPr>
          <p:cNvSpPr/>
          <p:nvPr/>
        </p:nvSpPr>
        <p:spPr>
          <a:xfrm>
            <a:off x="5179544" y="3223470"/>
            <a:ext cx="2121408" cy="12464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29 </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BCN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case studies </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and</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42 narratives </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and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over 5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external case studies sharing best practice</a:t>
            </a:r>
          </a:p>
        </p:txBody>
      </p:sp>
      <p:sp>
        <p:nvSpPr>
          <p:cNvPr id="12" name="Rectangle 11">
            <a:extLst>
              <a:ext uri="{FF2B5EF4-FFF2-40B4-BE49-F238E27FC236}">
                <a16:creationId xmlns:a16="http://schemas.microsoft.com/office/drawing/2014/main" id="{200E6630-C069-B74B-AE08-8C34D1FC2141}"/>
              </a:ext>
            </a:extLst>
          </p:cNvPr>
          <p:cNvSpPr/>
          <p:nvPr/>
        </p:nvSpPr>
        <p:spPr>
          <a:xfrm>
            <a:off x="7883518" y="3119735"/>
            <a:ext cx="2540000" cy="12464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Coproduced</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with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4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people with lived experience and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2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voluntary and community organisations</a:t>
            </a:r>
          </a:p>
        </p:txBody>
      </p:sp>
      <p:sp>
        <p:nvSpPr>
          <p:cNvPr id="13" name="Rectangle 12">
            <a:extLst>
              <a:ext uri="{FF2B5EF4-FFF2-40B4-BE49-F238E27FC236}">
                <a16:creationId xmlns:a16="http://schemas.microsoft.com/office/drawing/2014/main" id="{BC87F0F0-A026-4A4A-BE89-C1268BB91819}"/>
              </a:ext>
            </a:extLst>
          </p:cNvPr>
          <p:cNvSpPr/>
          <p:nvPr/>
        </p:nvSpPr>
        <p:spPr>
          <a:xfrm>
            <a:off x="3489951" y="1033512"/>
            <a:ext cx="2540000" cy="12464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Evidence Scans </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from over</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60</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 online databases &amp; sources produced every fortnight with thousan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of hits</a:t>
            </a:r>
          </a:p>
        </p:txBody>
      </p:sp>
      <p:sp>
        <p:nvSpPr>
          <p:cNvPr id="14" name="Rectangle 13">
            <a:extLst>
              <a:ext uri="{FF2B5EF4-FFF2-40B4-BE49-F238E27FC236}">
                <a16:creationId xmlns:a16="http://schemas.microsoft.com/office/drawing/2014/main" id="{24DE14C8-6C57-8C48-9B72-07B9E9156237}"/>
              </a:ext>
            </a:extLst>
          </p:cNvPr>
          <p:cNvSpPr/>
          <p:nvPr/>
        </p:nvSpPr>
        <p:spPr>
          <a:xfrm>
            <a:off x="3546718" y="5089867"/>
            <a:ext cx="2540000" cy="12464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Suppor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National Re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Productiv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System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Workforce</a:t>
            </a:r>
          </a:p>
        </p:txBody>
      </p:sp>
      <p:sp>
        <p:nvSpPr>
          <p:cNvPr id="15" name="Rectangle 14">
            <a:extLst>
              <a:ext uri="{FF2B5EF4-FFF2-40B4-BE49-F238E27FC236}">
                <a16:creationId xmlns:a16="http://schemas.microsoft.com/office/drawing/2014/main" id="{2111AF11-956C-F64A-B15A-43DADDD5C3E2}"/>
              </a:ext>
            </a:extLst>
          </p:cNvPr>
          <p:cNvSpPr/>
          <p:nvPr/>
        </p:nvSpPr>
        <p:spPr>
          <a:xfrm>
            <a:off x="9346692" y="5351825"/>
            <a:ext cx="2540000"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Lunch and learns with over </a:t>
            </a:r>
            <a:r>
              <a:rPr kumimoji="0" lang="en-GB" sz="15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500 </a:t>
            </a:r>
            <a:r>
              <a:rPr kumimoji="0" lang="en-GB" sz="15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attendees sharing learning across the Network  </a:t>
            </a:r>
          </a:p>
        </p:txBody>
      </p:sp>
      <p:sp>
        <p:nvSpPr>
          <p:cNvPr id="16" name="Rectangle 15">
            <a:extLst>
              <a:ext uri="{FF2B5EF4-FFF2-40B4-BE49-F238E27FC236}">
                <a16:creationId xmlns:a16="http://schemas.microsoft.com/office/drawing/2014/main" id="{402997DD-C7F3-BC4A-B18C-6696584ED4E6}"/>
              </a:ext>
            </a:extLst>
          </p:cNvPr>
          <p:cNvSpPr/>
          <p:nvPr/>
        </p:nvSpPr>
        <p:spPr>
          <a:xfrm>
            <a:off x="567194" y="5079403"/>
            <a:ext cx="2415513"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Influenc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People Pl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Bureaucracy Bus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White Paper ‘Working together’ &amp; Planning Guidance</a:t>
            </a:r>
          </a:p>
        </p:txBody>
      </p:sp>
      <p:pic>
        <p:nvPicPr>
          <p:cNvPr id="21" name="Picture 20">
            <a:extLst>
              <a:ext uri="{FF2B5EF4-FFF2-40B4-BE49-F238E27FC236}">
                <a16:creationId xmlns:a16="http://schemas.microsoft.com/office/drawing/2014/main" id="{6E0342A9-5D2D-254C-90D4-BDFD8AF42B4F}"/>
              </a:ext>
            </a:extLst>
          </p:cNvPr>
          <p:cNvPicPr>
            <a:picLocks noChangeAspect="1"/>
          </p:cNvPicPr>
          <p:nvPr/>
        </p:nvPicPr>
        <p:blipFill>
          <a:blip r:embed="rId3"/>
          <a:stretch>
            <a:fillRect/>
          </a:stretch>
        </p:blipFill>
        <p:spPr>
          <a:xfrm>
            <a:off x="5736000" y="2417243"/>
            <a:ext cx="720000" cy="720000"/>
          </a:xfrm>
          <a:prstGeom prst="rect">
            <a:avLst/>
          </a:prstGeom>
        </p:spPr>
      </p:pic>
      <p:pic>
        <p:nvPicPr>
          <p:cNvPr id="23" name="Picture 22">
            <a:extLst>
              <a:ext uri="{FF2B5EF4-FFF2-40B4-BE49-F238E27FC236}">
                <a16:creationId xmlns:a16="http://schemas.microsoft.com/office/drawing/2014/main" id="{CADB9E5A-DA9C-3D44-92CC-7C23705CFA15}"/>
              </a:ext>
            </a:extLst>
          </p:cNvPr>
          <p:cNvPicPr>
            <a:picLocks noChangeAspect="1"/>
          </p:cNvPicPr>
          <p:nvPr/>
        </p:nvPicPr>
        <p:blipFill>
          <a:blip r:embed="rId4"/>
          <a:stretch>
            <a:fillRect/>
          </a:stretch>
        </p:blipFill>
        <p:spPr>
          <a:xfrm rot="1913449">
            <a:off x="4504934" y="4449776"/>
            <a:ext cx="598688" cy="584434"/>
          </a:xfrm>
          <a:prstGeom prst="rect">
            <a:avLst/>
          </a:prstGeom>
        </p:spPr>
      </p:pic>
      <p:pic>
        <p:nvPicPr>
          <p:cNvPr id="25" name="Picture 24">
            <a:extLst>
              <a:ext uri="{FF2B5EF4-FFF2-40B4-BE49-F238E27FC236}">
                <a16:creationId xmlns:a16="http://schemas.microsoft.com/office/drawing/2014/main" id="{2ECF1F8B-F3A4-2C49-9D9B-E457FB3D3F06}"/>
              </a:ext>
            </a:extLst>
          </p:cNvPr>
          <p:cNvPicPr>
            <a:picLocks noChangeAspect="1"/>
          </p:cNvPicPr>
          <p:nvPr/>
        </p:nvPicPr>
        <p:blipFill>
          <a:blip r:embed="rId5"/>
          <a:stretch>
            <a:fillRect/>
          </a:stretch>
        </p:blipFill>
        <p:spPr>
          <a:xfrm>
            <a:off x="4363951" y="190938"/>
            <a:ext cx="792000" cy="792000"/>
          </a:xfrm>
          <a:prstGeom prst="rect">
            <a:avLst/>
          </a:prstGeom>
        </p:spPr>
      </p:pic>
      <p:pic>
        <p:nvPicPr>
          <p:cNvPr id="27" name="Picture 26">
            <a:extLst>
              <a:ext uri="{FF2B5EF4-FFF2-40B4-BE49-F238E27FC236}">
                <a16:creationId xmlns:a16="http://schemas.microsoft.com/office/drawing/2014/main" id="{14CF6BA8-320A-6A4B-8F72-82D26B911012}"/>
              </a:ext>
            </a:extLst>
          </p:cNvPr>
          <p:cNvPicPr>
            <a:picLocks noChangeAspect="1"/>
          </p:cNvPicPr>
          <p:nvPr/>
        </p:nvPicPr>
        <p:blipFill>
          <a:blip r:embed="rId6"/>
          <a:stretch>
            <a:fillRect/>
          </a:stretch>
        </p:blipFill>
        <p:spPr>
          <a:xfrm>
            <a:off x="8757518" y="2251973"/>
            <a:ext cx="792000" cy="792000"/>
          </a:xfrm>
          <a:prstGeom prst="rect">
            <a:avLst/>
          </a:prstGeom>
        </p:spPr>
      </p:pic>
      <p:pic>
        <p:nvPicPr>
          <p:cNvPr id="31" name="Picture 30">
            <a:extLst>
              <a:ext uri="{FF2B5EF4-FFF2-40B4-BE49-F238E27FC236}">
                <a16:creationId xmlns:a16="http://schemas.microsoft.com/office/drawing/2014/main" id="{5393145F-9588-4F43-A337-180100233E87}"/>
              </a:ext>
            </a:extLst>
          </p:cNvPr>
          <p:cNvPicPr>
            <a:picLocks noChangeAspect="1"/>
          </p:cNvPicPr>
          <p:nvPr/>
        </p:nvPicPr>
        <p:blipFill>
          <a:blip r:embed="rId7"/>
          <a:stretch>
            <a:fillRect/>
          </a:stretch>
        </p:blipFill>
        <p:spPr>
          <a:xfrm>
            <a:off x="2702858" y="2172914"/>
            <a:ext cx="827234" cy="720000"/>
          </a:xfrm>
          <a:prstGeom prst="rect">
            <a:avLst/>
          </a:prstGeom>
        </p:spPr>
      </p:pic>
      <p:pic>
        <p:nvPicPr>
          <p:cNvPr id="33" name="Picture 32">
            <a:extLst>
              <a:ext uri="{FF2B5EF4-FFF2-40B4-BE49-F238E27FC236}">
                <a16:creationId xmlns:a16="http://schemas.microsoft.com/office/drawing/2014/main" id="{D17F05FA-33D6-3440-A3D8-1684C73772BD}"/>
              </a:ext>
            </a:extLst>
          </p:cNvPr>
          <p:cNvPicPr>
            <a:picLocks noChangeAspect="1"/>
          </p:cNvPicPr>
          <p:nvPr/>
        </p:nvPicPr>
        <p:blipFill>
          <a:blip r:embed="rId8"/>
          <a:stretch>
            <a:fillRect/>
          </a:stretch>
        </p:blipFill>
        <p:spPr>
          <a:xfrm>
            <a:off x="7126376" y="148685"/>
            <a:ext cx="1100690" cy="720000"/>
          </a:xfrm>
          <a:prstGeom prst="rect">
            <a:avLst/>
          </a:prstGeom>
        </p:spPr>
      </p:pic>
      <p:pic>
        <p:nvPicPr>
          <p:cNvPr id="37" name="Picture 36">
            <a:extLst>
              <a:ext uri="{FF2B5EF4-FFF2-40B4-BE49-F238E27FC236}">
                <a16:creationId xmlns:a16="http://schemas.microsoft.com/office/drawing/2014/main" id="{DA0C2583-2B3B-F54C-85BB-FE9299ADDAE2}"/>
              </a:ext>
            </a:extLst>
          </p:cNvPr>
          <p:cNvPicPr>
            <a:picLocks noChangeAspect="1"/>
          </p:cNvPicPr>
          <p:nvPr/>
        </p:nvPicPr>
        <p:blipFill>
          <a:blip r:embed="rId9"/>
          <a:stretch>
            <a:fillRect/>
          </a:stretch>
        </p:blipFill>
        <p:spPr>
          <a:xfrm>
            <a:off x="10092439" y="164357"/>
            <a:ext cx="1048506" cy="941516"/>
          </a:xfrm>
          <a:prstGeom prst="rect">
            <a:avLst/>
          </a:prstGeom>
        </p:spPr>
      </p:pic>
      <p:pic>
        <p:nvPicPr>
          <p:cNvPr id="17" name="Graphic 16" descr="Connections">
            <a:extLst>
              <a:ext uri="{FF2B5EF4-FFF2-40B4-BE49-F238E27FC236}">
                <a16:creationId xmlns:a16="http://schemas.microsoft.com/office/drawing/2014/main" id="{32D453C4-C3D3-4338-9D18-7A6CCDBF816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56873" y="4441992"/>
            <a:ext cx="744627" cy="744627"/>
          </a:xfrm>
          <a:prstGeom prst="rect">
            <a:avLst/>
          </a:prstGeom>
        </p:spPr>
      </p:pic>
      <p:pic>
        <p:nvPicPr>
          <p:cNvPr id="20" name="Graphic 19" descr="Open book">
            <a:extLst>
              <a:ext uri="{FF2B5EF4-FFF2-40B4-BE49-F238E27FC236}">
                <a16:creationId xmlns:a16="http://schemas.microsoft.com/office/drawing/2014/main" id="{AB70653E-D8AF-48E9-BAD5-505ECD0F88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30074" y="4405656"/>
            <a:ext cx="666848" cy="666848"/>
          </a:xfrm>
          <a:prstGeom prst="rect">
            <a:avLst/>
          </a:prstGeom>
        </p:spPr>
      </p:pic>
      <p:pic>
        <p:nvPicPr>
          <p:cNvPr id="24" name="Graphic 23" descr="Teacher">
            <a:extLst>
              <a:ext uri="{FF2B5EF4-FFF2-40B4-BE49-F238E27FC236}">
                <a16:creationId xmlns:a16="http://schemas.microsoft.com/office/drawing/2014/main" id="{90B32810-50C5-496B-80CB-72CFB57183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38596" y="4575795"/>
            <a:ext cx="744627" cy="744627"/>
          </a:xfrm>
          <a:prstGeom prst="rect">
            <a:avLst/>
          </a:prstGeom>
        </p:spPr>
      </p:pic>
    </p:spTree>
    <p:extLst>
      <p:ext uri="{BB962C8B-B14F-4D97-AF65-F5344CB8AC3E}">
        <p14:creationId xmlns:p14="http://schemas.microsoft.com/office/powerpoint/2010/main" val="584797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AF2EA8-4B6E-9141-9A21-57AF27015B2D}"/>
              </a:ext>
            </a:extLst>
          </p:cNvPr>
          <p:cNvSpPr/>
          <p:nvPr/>
        </p:nvSpPr>
        <p:spPr>
          <a:xfrm>
            <a:off x="0" y="0"/>
            <a:ext cx="12192000" cy="6857999"/>
          </a:xfrm>
          <a:prstGeom prst="rect">
            <a:avLst/>
          </a:prstGeom>
          <a:gradFill flip="none" rotWithShape="1">
            <a:gsLst>
              <a:gs pos="0">
                <a:schemeClr val="tx2"/>
              </a:gs>
              <a:gs pos="9900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6FFA9A0-CFD0-4A65-945B-AED4297394F5}"/>
              </a:ext>
            </a:extLst>
          </p:cNvPr>
          <p:cNvSpPr>
            <a:spLocks noGrp="1"/>
          </p:cNvSpPr>
          <p:nvPr>
            <p:ph type="title"/>
          </p:nvPr>
        </p:nvSpPr>
        <p:spPr>
          <a:xfrm>
            <a:off x="654125" y="2480418"/>
            <a:ext cx="10924961" cy="1267985"/>
          </a:xfrm>
        </p:spPr>
        <p:txBody>
          <a:bodyPr anchor="t"/>
          <a:lstStyle/>
          <a:p>
            <a:r>
              <a:rPr lang="en-GB" sz="4800" dirty="0">
                <a:solidFill>
                  <a:schemeClr val="bg1"/>
                </a:solidFill>
              </a:rPr>
              <a:t>Clinical Audit at NHSEI</a:t>
            </a:r>
          </a:p>
        </p:txBody>
      </p:sp>
      <p:cxnSp>
        <p:nvCxnSpPr>
          <p:cNvPr id="14" name="Straight Connector 13">
            <a:extLst>
              <a:ext uri="{FF2B5EF4-FFF2-40B4-BE49-F238E27FC236}">
                <a16:creationId xmlns:a16="http://schemas.microsoft.com/office/drawing/2014/main" id="{49316DD1-E02D-4B63-B401-5F85E726F143}"/>
              </a:ext>
            </a:extLst>
          </p:cNvPr>
          <p:cNvCxnSpPr>
            <a:cxnSpLocks/>
          </p:cNvCxnSpPr>
          <p:nvPr/>
        </p:nvCxnSpPr>
        <p:spPr>
          <a:xfrm>
            <a:off x="654126" y="3331000"/>
            <a:ext cx="10883748"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875260"/>
      </p:ext>
    </p:extLst>
  </p:cSld>
  <p:clrMapOvr>
    <a:masterClrMapping/>
  </p:clrMapOvr>
  <p:transition spd="slow">
    <p:cu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DEBDE8-D162-47A3-B039-294A10160662}"/>
              </a:ext>
            </a:extLst>
          </p:cNvPr>
          <p:cNvSpPr>
            <a:spLocks noGrp="1"/>
          </p:cNvSpPr>
          <p:nvPr>
            <p:ph sz="quarter" idx="10"/>
          </p:nvPr>
        </p:nvSpPr>
        <p:spPr>
          <a:xfrm>
            <a:off x="824839" y="1953087"/>
            <a:ext cx="10173362" cy="4392848"/>
          </a:xfrm>
        </p:spPr>
        <p:txBody>
          <a:bodyPr/>
          <a:lstStyle/>
          <a:p>
            <a:pPr>
              <a:spcBef>
                <a:spcPts val="2400"/>
              </a:spcBef>
            </a:pPr>
            <a:r>
              <a:rPr lang="en-GB" sz="1800" dirty="0"/>
              <a:t>The National Clinical Audit Patient Outcome Programme (NCAPOP) aims to improve patient outcomes by stimulating health improvement and policy development using high-quality data combined with strong clinical leadership to effect change in practice with a programme comprising 40 plus national clinical audits and outcome review programmes. </a:t>
            </a:r>
          </a:p>
          <a:p>
            <a:pPr>
              <a:spcBef>
                <a:spcPts val="2400"/>
              </a:spcBef>
            </a:pPr>
            <a:r>
              <a:rPr lang="en-GB" sz="1800" dirty="0"/>
              <a:t>Commissioning is led by the NHSEI Medical Directorate, funded by a number of Directorates and delivered via the Healthcare Quality Improvement Programme </a:t>
            </a:r>
            <a:r>
              <a:rPr lang="en-GB" sz="1800" u="sng" dirty="0">
                <a:hlinkClick r:id="rId2"/>
              </a:rPr>
              <a:t>(HQIP)</a:t>
            </a:r>
            <a:r>
              <a:rPr lang="en-GB" sz="1800" dirty="0"/>
              <a:t> who work in partnership with NHSEI clinical and policy teams to ensure each audit is supporting NHSEI’s strategic and clinical priorities. </a:t>
            </a:r>
          </a:p>
          <a:p>
            <a:pPr>
              <a:spcBef>
                <a:spcPts val="2400"/>
              </a:spcBef>
            </a:pPr>
            <a:r>
              <a:rPr lang="en-GB" sz="1800" dirty="0"/>
              <a:t>NCAPOP topics are aligned to and support the delivery of Long-Term Plan clinical priorities in areas such as: diabetes, mental health, cardiac, stroke, obesity, cancer, maternity, children and young people.  </a:t>
            </a:r>
          </a:p>
          <a:p>
            <a:pPr marL="0" indent="0">
              <a:spcBef>
                <a:spcPts val="2400"/>
              </a:spcBef>
              <a:buNone/>
            </a:pPr>
            <a:endParaRPr lang="en-GB" sz="1800" dirty="0"/>
          </a:p>
          <a:p>
            <a:pPr>
              <a:spcBef>
                <a:spcPts val="2400"/>
              </a:spcBef>
            </a:pPr>
            <a:endParaRPr lang="en-GB" sz="1800" dirty="0"/>
          </a:p>
        </p:txBody>
      </p:sp>
      <p:sp>
        <p:nvSpPr>
          <p:cNvPr id="3" name="Title 2">
            <a:extLst>
              <a:ext uri="{FF2B5EF4-FFF2-40B4-BE49-F238E27FC236}">
                <a16:creationId xmlns:a16="http://schemas.microsoft.com/office/drawing/2014/main" id="{E5D6E56D-71C5-48F2-B1E3-2D3B04C46BD2}"/>
              </a:ext>
            </a:extLst>
          </p:cNvPr>
          <p:cNvSpPr>
            <a:spLocks noGrp="1"/>
          </p:cNvSpPr>
          <p:nvPr>
            <p:ph type="title"/>
          </p:nvPr>
        </p:nvSpPr>
        <p:spPr/>
        <p:txBody>
          <a:bodyPr/>
          <a:lstStyle/>
          <a:p>
            <a:r>
              <a:rPr lang="en-GB" dirty="0"/>
              <a:t>National Clinical Audit Patient Outcome Programme (NCAPOP)</a:t>
            </a:r>
          </a:p>
        </p:txBody>
      </p:sp>
    </p:spTree>
    <p:extLst>
      <p:ext uri="{BB962C8B-B14F-4D97-AF65-F5344CB8AC3E}">
        <p14:creationId xmlns:p14="http://schemas.microsoft.com/office/powerpoint/2010/main" val="3299820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4F70FF-535D-4803-A5A9-50E926E25E6B}"/>
              </a:ext>
            </a:extLst>
          </p:cNvPr>
          <p:cNvSpPr>
            <a:spLocks noGrp="1"/>
          </p:cNvSpPr>
          <p:nvPr>
            <p:ph sz="quarter" idx="10"/>
          </p:nvPr>
        </p:nvSpPr>
        <p:spPr>
          <a:xfrm>
            <a:off x="824838" y="1864310"/>
            <a:ext cx="10173362" cy="4472748"/>
          </a:xfrm>
        </p:spPr>
        <p:txBody>
          <a:bodyPr/>
          <a:lstStyle/>
          <a:p>
            <a:pPr marL="0" indent="0">
              <a:buNone/>
            </a:pPr>
            <a:r>
              <a:rPr lang="en-GB" sz="1600" b="1" i="1" dirty="0"/>
              <a:t>NCAPOP improves healthcare through a range of approaches including:</a:t>
            </a:r>
            <a:r>
              <a:rPr lang="en-GB" sz="1600" dirty="0"/>
              <a:t>  </a:t>
            </a:r>
          </a:p>
          <a:p>
            <a:pPr lvl="0"/>
            <a:r>
              <a:rPr lang="en-GB" sz="1600" dirty="0"/>
              <a:t>encouraging the use of robust data for quality improvement of care, promoting patient safety</a:t>
            </a:r>
          </a:p>
          <a:p>
            <a:pPr lvl="0"/>
            <a:r>
              <a:rPr lang="en-GB" sz="1600" dirty="0"/>
              <a:t>measuring NHS compliance to National Institute for Health and Care Excellence (NICE) Guidance </a:t>
            </a:r>
          </a:p>
          <a:p>
            <a:pPr lvl="0"/>
            <a:r>
              <a:rPr lang="en-GB" sz="1600" dirty="0"/>
              <a:t>supporting commissioners to tackle unwarranted variation</a:t>
            </a:r>
          </a:p>
          <a:p>
            <a:pPr lvl="0"/>
            <a:r>
              <a:rPr lang="en-GB" sz="1600" dirty="0"/>
              <a:t>supporting payment mechanisms, for example Best Practice Tariff (BPT)</a:t>
            </a:r>
          </a:p>
          <a:p>
            <a:pPr lvl="0"/>
            <a:r>
              <a:rPr lang="en-GB" sz="1600" dirty="0"/>
              <a:t>identifying and responding to serious national incidents or areas of concern</a:t>
            </a:r>
          </a:p>
          <a:p>
            <a:pPr lvl="0"/>
            <a:r>
              <a:rPr lang="en-GB" sz="1600" dirty="0"/>
              <a:t>supporting commissioning of specialised services, e.g. specialised cardiac care</a:t>
            </a:r>
          </a:p>
          <a:p>
            <a:pPr lvl="0"/>
            <a:r>
              <a:rPr lang="en-GB" sz="1600" dirty="0"/>
              <a:t>providing trusts with individual benchmarked reports on compliance and performance</a:t>
            </a:r>
          </a:p>
          <a:p>
            <a:pPr lvl="0"/>
            <a:r>
              <a:rPr lang="en-GB" sz="1600" dirty="0"/>
              <a:t>Outlier management processes</a:t>
            </a:r>
          </a:p>
          <a:p>
            <a:endParaRPr lang="en-GB" sz="1600" dirty="0"/>
          </a:p>
        </p:txBody>
      </p:sp>
      <p:sp>
        <p:nvSpPr>
          <p:cNvPr id="4" name="Title 2">
            <a:extLst>
              <a:ext uri="{FF2B5EF4-FFF2-40B4-BE49-F238E27FC236}">
                <a16:creationId xmlns:a16="http://schemas.microsoft.com/office/drawing/2014/main" id="{2D1B621E-F924-481D-8F79-11CB07A5EBA1}"/>
              </a:ext>
            </a:extLst>
          </p:cNvPr>
          <p:cNvSpPr>
            <a:spLocks noGrp="1"/>
          </p:cNvSpPr>
          <p:nvPr>
            <p:ph type="title"/>
          </p:nvPr>
        </p:nvSpPr>
        <p:spPr>
          <a:xfrm>
            <a:off x="824838" y="431674"/>
            <a:ext cx="8756073" cy="611649"/>
          </a:xfrm>
        </p:spPr>
        <p:txBody>
          <a:bodyPr/>
          <a:lstStyle/>
          <a:p>
            <a:r>
              <a:rPr lang="en-GB" dirty="0"/>
              <a:t>National Clinical Audit Patient Outcome Programme (NCAPOP)</a:t>
            </a:r>
          </a:p>
        </p:txBody>
      </p:sp>
    </p:spTree>
    <p:extLst>
      <p:ext uri="{BB962C8B-B14F-4D97-AF65-F5344CB8AC3E}">
        <p14:creationId xmlns:p14="http://schemas.microsoft.com/office/powerpoint/2010/main" val="2985779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977" y="262586"/>
            <a:ext cx="10515600" cy="714375"/>
          </a:xfrm>
        </p:spPr>
        <p:txBody>
          <a:bodyPr>
            <a:normAutofit/>
          </a:bodyPr>
          <a:lstStyle/>
          <a:p>
            <a:r>
              <a:rPr lang="en-US" sz="3200" b="1" dirty="0">
                <a:solidFill>
                  <a:srgbClr val="005EB8"/>
                </a:solidFill>
                <a:latin typeface="Arial" panose="020B0604020202020204" pitchFamily="34" charset="0"/>
                <a:cs typeface="Arial" panose="020B0604020202020204" pitchFamily="34" charset="0"/>
              </a:rPr>
              <a:t>NCAPOP Commissioning Arrangements</a:t>
            </a:r>
          </a:p>
        </p:txBody>
      </p:sp>
      <p:sp>
        <p:nvSpPr>
          <p:cNvPr id="12" name="TextBox 11"/>
          <p:cNvSpPr txBox="1"/>
          <p:nvPr/>
        </p:nvSpPr>
        <p:spPr>
          <a:xfrm>
            <a:off x="7377113" y="1503363"/>
            <a:ext cx="790575" cy="369332"/>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12"/>
          <p:cNvSpPr txBox="1"/>
          <p:nvPr/>
        </p:nvSpPr>
        <p:spPr>
          <a:xfrm>
            <a:off x="8382000" y="2182050"/>
            <a:ext cx="1200150" cy="369332"/>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descr="About HQIP Diagram 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1682" y="1304852"/>
            <a:ext cx="8174736" cy="5148072"/>
          </a:xfrm>
          <a:prstGeom prst="rect">
            <a:avLst/>
          </a:prstGeom>
        </p:spPr>
      </p:pic>
    </p:spTree>
    <p:extLst>
      <p:ext uri="{BB962C8B-B14F-4D97-AF65-F5344CB8AC3E}">
        <p14:creationId xmlns:p14="http://schemas.microsoft.com/office/powerpoint/2010/main" val="208710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2.xml><?xml version="1.0" encoding="utf-8"?>
<a:theme xmlns:a="http://schemas.openxmlformats.org/drawingml/2006/main" name="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3.xml><?xml version="1.0" encoding="utf-8"?>
<a:theme xmlns:a="http://schemas.openxmlformats.org/drawingml/2006/main" name="2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asis">
  <a:themeElements>
    <a:clrScheme name="Basis">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Basis" id="{5665723A-49BA-4B57-8411-A56F8F207965}" vid="{D9D01AC2-EE7D-4E49-99EE-8E62E4E7E8A7}"/>
    </a:ext>
  </a:extLst>
</a:theme>
</file>

<file path=ppt/theme/theme7.xml><?xml version="1.0" encoding="utf-8"?>
<a:theme xmlns:a="http://schemas.openxmlformats.org/drawingml/2006/main" name="3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84146BE3690143B8BD2EDE9F22F079" ma:contentTypeVersion="10" ma:contentTypeDescription="Create a new document." ma:contentTypeScope="" ma:versionID="e27b68832986fb49c1f4c64effabc19d">
  <xsd:schema xmlns:xsd="http://www.w3.org/2001/XMLSchema" xmlns:xs="http://www.w3.org/2001/XMLSchema" xmlns:p="http://schemas.microsoft.com/office/2006/metadata/properties" xmlns:ns2="80922b40-ea48-404e-9c4d-981eb0dd12b9" targetNamespace="http://schemas.microsoft.com/office/2006/metadata/properties" ma:root="true" ma:fieldsID="423a5d5a74a25b5f48eb1fee364d8eab" ns2:_="">
    <xsd:import namespace="80922b40-ea48-404e-9c4d-981eb0dd12b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922b40-ea48-404e-9c4d-981eb0dd12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A3E756-F301-4B15-9FCC-D1CDD2AB6AE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80922b40-ea48-404e-9c4d-981eb0dd12b9"/>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4B4D003E-3FB3-4998-9C0C-FBA4156F11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922b40-ea48-404e-9c4d-981eb0dd12b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375518C-DF5A-4F94-941E-2A1F1D46DB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00</TotalTime>
  <Words>2508</Words>
  <Application>Microsoft Office PowerPoint</Application>
  <PresentationFormat>Widescreen</PresentationFormat>
  <Paragraphs>326</Paragraphs>
  <Slides>26</Slides>
  <Notes>8</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40" baseType="lpstr">
      <vt:lpstr>Arial</vt:lpstr>
      <vt:lpstr>Calibri</vt:lpstr>
      <vt:lpstr>Calibri Light</vt:lpstr>
      <vt:lpstr>Corbel</vt:lpstr>
      <vt:lpstr>Courier New</vt:lpstr>
      <vt:lpstr>Lato Light</vt:lpstr>
      <vt:lpstr>1_Office Theme</vt:lpstr>
      <vt:lpstr>Office Theme</vt:lpstr>
      <vt:lpstr>2_Office Theme</vt:lpstr>
      <vt:lpstr>Custom Design</vt:lpstr>
      <vt:lpstr>1_Custom Design</vt:lpstr>
      <vt:lpstr>Basis</vt:lpstr>
      <vt:lpstr>3_Office Theme</vt:lpstr>
      <vt:lpstr>think-cell Slide</vt:lpstr>
      <vt:lpstr>Clinical Audit for Improvement – NHSEI Update   Dawn Chamberlain Director Clinical Improvement NHSEI  2nd September 2021</vt:lpstr>
      <vt:lpstr>An introduction to  Clinical Improvement</vt:lpstr>
      <vt:lpstr>Introducing the Clinical Improvement Group</vt:lpstr>
      <vt:lpstr>BCN Shared Purpose  </vt:lpstr>
      <vt:lpstr>PowerPoint Presentation</vt:lpstr>
      <vt:lpstr>Clinical Audit at NHSEI</vt:lpstr>
      <vt:lpstr>National Clinical Audit Patient Outcome Programme (NCAPOP)</vt:lpstr>
      <vt:lpstr>National Clinical Audit Patient Outcome Programme (NCAPOP)</vt:lpstr>
      <vt:lpstr>NCAPOP Commissioning Arrangements</vt:lpstr>
      <vt:lpstr>PowerPoint Presentation</vt:lpstr>
      <vt:lpstr>NCAPOP commissioning principles</vt:lpstr>
      <vt:lpstr>Recent NCAPOP report examples</vt:lpstr>
      <vt:lpstr>Clinical Audit for Improvement</vt:lpstr>
      <vt:lpstr>PowerPoint Presentation</vt:lpstr>
      <vt:lpstr>PowerPoint Presentation</vt:lpstr>
      <vt:lpstr>PowerPoint Presentation</vt:lpstr>
      <vt:lpstr>PowerPoint Presentation</vt:lpstr>
      <vt:lpstr>Next steps</vt:lpstr>
      <vt:lpstr>An introduction to the development of a Coproduction Strategy for the Improvement Directorate for NHSEI</vt:lpstr>
      <vt:lpstr>Putting the voice of people with lived experience at the heart of everything we do  </vt:lpstr>
      <vt:lpstr>BCN Rapid Review – Recommendation 1</vt:lpstr>
      <vt:lpstr>Lived Experience Improvement Partners</vt:lpstr>
      <vt:lpstr>Next Steps on Coproduction </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Hannah Hampson</cp:lastModifiedBy>
  <cp:revision>2</cp:revision>
  <dcterms:created xsi:type="dcterms:W3CDTF">2021-08-19T11:43:52Z</dcterms:created>
  <dcterms:modified xsi:type="dcterms:W3CDTF">2021-08-26T09:5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84146BE3690143B8BD2EDE9F22F079</vt:lpwstr>
  </property>
</Properties>
</file>